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0.xml" ContentType="application/vnd.openxmlformats-officedocument.customXmlProperties+xml"/>
  <Override PartName="/customXml/itemProps5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128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3.xml" ContentType="application/vnd.openxmlformats-officedocument.theme+xml"/>
  <Override PartName="/ppt/tags/tag129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4.xml" ContentType="application/vnd.openxmlformats-officedocument.them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58.xml" ContentType="application/vnd.openxmlformats-officedocument.presentationml.tags+xml"/>
  <Override PartName="/ppt/notesSlides/notesSlide2.xml" ContentType="application/vnd.openxmlformats-officedocument.presentationml.notesSlide+xml"/>
  <Override PartName="/ppt/tags/tag259.xml" ContentType="application/vnd.openxmlformats-officedocument.presentationml.tags+xml"/>
  <Override PartName="/ppt/notesSlides/notesSlide3.xml" ContentType="application/vnd.openxmlformats-officedocument.presentationml.notesSlide+xml"/>
  <Override PartName="/ppt/tags/tag260.xml" ContentType="application/vnd.openxmlformats-officedocument.presentationml.tags+xml"/>
  <Override PartName="/ppt/notesSlides/notesSlide4.xml" ContentType="application/vnd.openxmlformats-officedocument.presentationml.notesSlide+xml"/>
  <Override PartName="/ppt/tags/tag261.xml" ContentType="application/vnd.openxmlformats-officedocument.presentationml.tags+xml"/>
  <Override PartName="/ppt/notesSlides/notesSlide5.xml" ContentType="application/vnd.openxmlformats-officedocument.presentationml.notesSlide+xml"/>
  <Override PartName="/ppt/tags/tag262.xml" ContentType="application/vnd.openxmlformats-officedocument.presentationml.tags+xml"/>
  <Override PartName="/ppt/notesSlides/notesSlide6.xml" ContentType="application/vnd.openxmlformats-officedocument.presentationml.notesSlide+xml"/>
  <Override PartName="/ppt/tags/tag263.xml" ContentType="application/vnd.openxmlformats-officedocument.presentationml.tags+xml"/>
  <Override PartName="/ppt/notesSlides/notesSlide7.xml" ContentType="application/vnd.openxmlformats-officedocument.presentationml.notesSlide+xml"/>
  <Override PartName="/ppt/tags/tag264.xml" ContentType="application/vnd.openxmlformats-officedocument.presentationml.tags+xml"/>
  <Override PartName="/ppt/notesSlides/notesSlide8.xml" ContentType="application/vnd.openxmlformats-officedocument.presentationml.notesSlide+xml"/>
  <Override PartName="/ppt/tags/tag265.xml" ContentType="application/vnd.openxmlformats-officedocument.presentationml.tags+xml"/>
  <Override PartName="/ppt/notesSlides/notesSlide9.xml" ContentType="application/vnd.openxmlformats-officedocument.presentationml.notesSlide+xml"/>
  <Override PartName="/ppt/tags/tag266.xml" ContentType="application/vnd.openxmlformats-officedocument.presentationml.tags+xml"/>
  <Override PartName="/ppt/notesSlides/notesSlide10.xml" ContentType="application/vnd.openxmlformats-officedocument.presentationml.notesSlide+xml"/>
  <Override PartName="/ppt/tags/tag267.xml" ContentType="application/vnd.openxmlformats-officedocument.presentationml.tags+xml"/>
  <Override PartName="/ppt/notesSlides/notesSlide11.xml" ContentType="application/vnd.openxmlformats-officedocument.presentationml.notesSlide+xml"/>
  <Override PartName="/ppt/tags/tag268.xml" ContentType="application/vnd.openxmlformats-officedocument.presentationml.tags+xml"/>
  <Override PartName="/ppt/notesSlides/notesSlide12.xml" ContentType="application/vnd.openxmlformats-officedocument.presentationml.notesSlide+xml"/>
  <Override PartName="/ppt/tags/tag269.xml" ContentType="application/vnd.openxmlformats-officedocument.presentationml.tags+xml"/>
  <Override PartName="/ppt/notesSlides/notesSlide13.xml" ContentType="application/vnd.openxmlformats-officedocument.presentationml.notesSlide+xml"/>
  <Override PartName="/ppt/tags/tag270.xml" ContentType="application/vnd.openxmlformats-officedocument.presentationml.tags+xml"/>
  <Override PartName="/ppt/notesSlides/notesSlide14.xml" ContentType="application/vnd.openxmlformats-officedocument.presentationml.notesSlide+xml"/>
  <Override PartName="/ppt/tags/tag271.xml" ContentType="application/vnd.openxmlformats-officedocument.presentationml.tags+xml"/>
  <Override PartName="/ppt/notesSlides/notesSlide15.xml" ContentType="application/vnd.openxmlformats-officedocument.presentationml.notesSlide+xml"/>
  <Override PartName="/ppt/tags/tag272.xml" ContentType="application/vnd.openxmlformats-officedocument.presentationml.tags+xml"/>
  <Override PartName="/ppt/notesSlides/notesSlide16.xml" ContentType="application/vnd.openxmlformats-officedocument.presentationml.notesSlide+xml"/>
  <Override PartName="/ppt/tags/tag273.xml" ContentType="application/vnd.openxmlformats-officedocument.presentationml.tags+xml"/>
  <Override PartName="/ppt/notesSlides/notesSlide17.xml" ContentType="application/vnd.openxmlformats-officedocument.presentationml.notesSlide+xml"/>
  <Override PartName="/ppt/tags/tag274.xml" ContentType="application/vnd.openxmlformats-officedocument.presentationml.tags+xml"/>
  <Override PartName="/ppt/notesSlides/notesSlide18.xml" ContentType="application/vnd.openxmlformats-officedocument.presentationml.notesSlide+xml"/>
  <Override PartName="/ppt/tags/tag275.xml" ContentType="application/vnd.openxmlformats-officedocument.presentationml.tags+xml"/>
  <Override PartName="/ppt/notesSlides/notesSlide19.xml" ContentType="application/vnd.openxmlformats-officedocument.presentationml.notesSlide+xml"/>
  <Override PartName="/ppt/tags/tag276.xml" ContentType="application/vnd.openxmlformats-officedocument.presentationml.tags+xml"/>
  <Override PartName="/ppt/notesSlides/notesSlide20.xml" ContentType="application/vnd.openxmlformats-officedocument.presentationml.notesSlide+xml"/>
  <Override PartName="/ppt/tags/tag277.xml" ContentType="application/vnd.openxmlformats-officedocument.presentationml.tags+xml"/>
  <Override PartName="/ppt/notesSlides/notesSlide21.xml" ContentType="application/vnd.openxmlformats-officedocument.presentationml.notesSlide+xml"/>
  <Override PartName="/ppt/tags/tag278.xml" ContentType="application/vnd.openxmlformats-officedocument.presentationml.tags+xml"/>
  <Override PartName="/ppt/notesSlides/notesSlide22.xml" ContentType="application/vnd.openxmlformats-officedocument.presentationml.notesSlide+xml"/>
  <Override PartName="/ppt/tags/tag279.xml" ContentType="application/vnd.openxmlformats-officedocument.presentationml.tags+xml"/>
  <Override PartName="/ppt/notesSlides/notesSlide23.xml" ContentType="application/vnd.openxmlformats-officedocument.presentationml.notesSlide+xml"/>
  <Override PartName="/ppt/tags/tag280.xml" ContentType="application/vnd.openxmlformats-officedocument.presentationml.tags+xml"/>
  <Override PartName="/ppt/notesSlides/notesSlide24.xml" ContentType="application/vnd.openxmlformats-officedocument.presentationml.notesSlide+xml"/>
  <Override PartName="/ppt/tags/tag281.xml" ContentType="application/vnd.openxmlformats-officedocument.presentationml.tags+xml"/>
  <Override PartName="/ppt/notesSlides/notesSlide25.xml" ContentType="application/vnd.openxmlformats-officedocument.presentationml.notesSlide+xml"/>
  <Override PartName="/ppt/tags/tag282.xml" ContentType="application/vnd.openxmlformats-officedocument.presentationml.tags+xml"/>
  <Override PartName="/ppt/notesSlides/notesSlide2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733" r:id="rId52"/>
    <p:sldMasterId id="2147483798" r:id="rId53"/>
    <p:sldMasterId id="2147483818" r:id="rId54"/>
    <p:sldMasterId id="2147483842" r:id="rId55"/>
  </p:sldMasterIdLst>
  <p:notesMasterIdLst>
    <p:notesMasterId r:id="rId82"/>
  </p:notesMasterIdLst>
  <p:handoutMasterIdLst>
    <p:handoutMasterId r:id="rId83"/>
  </p:handoutMasterIdLst>
  <p:sldIdLst>
    <p:sldId id="258" r:id="rId56"/>
    <p:sldId id="265" r:id="rId57"/>
    <p:sldId id="2147483513" r:id="rId58"/>
    <p:sldId id="288" r:id="rId59"/>
    <p:sldId id="289" r:id="rId60"/>
    <p:sldId id="2147483512" r:id="rId61"/>
    <p:sldId id="301" r:id="rId62"/>
    <p:sldId id="2147483514" r:id="rId63"/>
    <p:sldId id="2147483511" r:id="rId64"/>
    <p:sldId id="2147483515" r:id="rId65"/>
    <p:sldId id="2147483516" r:id="rId66"/>
    <p:sldId id="2147483517" r:id="rId67"/>
    <p:sldId id="2147483518" r:id="rId68"/>
    <p:sldId id="2147483519" r:id="rId69"/>
    <p:sldId id="2147483520" r:id="rId70"/>
    <p:sldId id="2147483521" r:id="rId71"/>
    <p:sldId id="2147483522" r:id="rId72"/>
    <p:sldId id="2147483523" r:id="rId73"/>
    <p:sldId id="2147483524" r:id="rId74"/>
    <p:sldId id="2147483525" r:id="rId75"/>
    <p:sldId id="2147483526" r:id="rId76"/>
    <p:sldId id="2147483527" r:id="rId77"/>
    <p:sldId id="2147483528" r:id="rId78"/>
    <p:sldId id="2147483529" r:id="rId79"/>
    <p:sldId id="2147483530" r:id="rId80"/>
    <p:sldId id="2147483531" r:id="rId81"/>
  </p:sldIdLst>
  <p:sldSz cx="12195175" cy="6858000"/>
  <p:notesSz cx="6858000" cy="9144000"/>
  <p:embeddedFontLst>
    <p:embeddedFont>
      <p:font typeface="72" panose="020B0604020202020204" pitchFamily="34" charset="0"/>
      <p:regular r:id="rId84"/>
      <p:bold r:id="rId85"/>
      <p:italic r:id="rId86"/>
      <p:boldItalic r:id="rId87"/>
    </p:embeddedFont>
    <p:embeddedFont>
      <p:font typeface="72 Brand" panose="020B0504030603020204" pitchFamily="34" charset="0"/>
      <p:regular r:id="rId88"/>
      <p:bold r:id="rId89"/>
      <p:italic r:id="rId90"/>
      <p:boldItalic r:id="rId91"/>
    </p:embeddedFont>
    <p:embeddedFont>
      <p:font typeface="72 Brand Medium" panose="020B0604030603020204" pitchFamily="34" charset="0"/>
      <p:regular r:id="rId92"/>
      <p:bold r:id="rId93"/>
      <p:italic r:id="rId94"/>
      <p:boldItalic r:id="rId95"/>
    </p:embeddedFont>
    <p:embeddedFont>
      <p:font typeface="Arial Unicode MS" panose="020B0604020202020204" pitchFamily="34" charset="-128"/>
      <p:regular r:id="rId96"/>
      <p:bold r:id="rId97"/>
    </p:embeddedFont>
    <p:embeddedFont>
      <p:font typeface="Consolas" panose="020B0609020204030204" pitchFamily="49" charset="0"/>
      <p:regular r:id="rId98"/>
      <p:bold r:id="rId99"/>
      <p:italic r:id="rId100"/>
      <p:boldItalic r:id="rId101"/>
    </p:embeddedFont>
    <p:embeddedFont>
      <p:font typeface="Graphik Light" panose="020F0502020204030204" pitchFamily="34" charset="0"/>
      <p:regular r:id="rId102"/>
      <p:bold r:id="rId103"/>
      <p:italic r:id="rId104"/>
      <p:boldItalic r:id="rId105"/>
    </p:embeddedFont>
    <p:embeddedFont>
      <p:font typeface="Roboto" panose="02000000000000000000" pitchFamily="2" charset="0"/>
      <p:regular r:id="rId106"/>
      <p:bold r:id="rId107"/>
      <p:italic r:id="rId108"/>
      <p:boldItalic r:id="rId109"/>
    </p:embeddedFont>
    <p:embeddedFont>
      <p:font typeface="Segoe UI" panose="020B0502040204020203" pitchFamily="34" charset="0"/>
      <p:regular r:id="rId110"/>
      <p:bold r:id="rId111"/>
      <p:italic r:id="rId112"/>
      <p:boldItalic r:id="rId113"/>
    </p:embeddedFont>
  </p:embeddedFontLst>
  <p:custDataLst>
    <p:tags r:id="rId114"/>
  </p:custDataLst>
  <p:defaultTextStyle>
    <a:defPPr>
      <a:defRPr lang="de-DE"/>
    </a:defPPr>
    <a:lvl1pPr marL="0" algn="l" defTabSz="1088776" rtl="0" eaLnBrk="1" latinLnBrk="0" hangingPunct="1">
      <a:defRPr lang="de-DE" sz="2100" kern="1200">
        <a:solidFill>
          <a:schemeClr val="tx1"/>
        </a:solidFill>
        <a:latin typeface="Arial"/>
        <a:ea typeface="+mn-ea"/>
        <a:cs typeface="+mn-cs"/>
      </a:defRPr>
    </a:lvl1pPr>
    <a:lvl2pPr marL="544388" algn="l" defTabSz="1088776" rtl="0" eaLnBrk="1" latinLnBrk="0" hangingPunct="1">
      <a:buClr>
        <a:srgbClr val="FDB913"/>
      </a:buClr>
      <a:buSzPct val="100000"/>
      <a:buFont typeface="wingdings"/>
      <a:buChar char=""/>
      <a:defRPr lang="de-DE" sz="2100" kern="1200">
        <a:solidFill>
          <a:schemeClr val="tx1"/>
        </a:solidFill>
        <a:latin typeface="Arial"/>
        <a:ea typeface="+mn-ea"/>
        <a:cs typeface="+mn-cs"/>
      </a:defRPr>
    </a:lvl2pPr>
    <a:lvl3pPr marL="1088776" algn="l" defTabSz="1088776" rtl="0" eaLnBrk="1" latinLnBrk="0" hangingPunct="1">
      <a:buClr>
        <a:srgbClr val="666666"/>
      </a:buClr>
      <a:buSzPct val="80000"/>
      <a:buFont typeface="Wingdings"/>
      <a:buChar char="n"/>
      <a:defRPr lang="de-DE" sz="1700" kern="1200">
        <a:solidFill>
          <a:schemeClr val="tx1"/>
        </a:solidFill>
        <a:latin typeface="Arial"/>
        <a:ea typeface="+mn-ea"/>
        <a:cs typeface="+mn-cs"/>
      </a:defRPr>
    </a:lvl3pPr>
    <a:lvl4pPr marL="1633164" algn="l" defTabSz="1088776" rtl="0" eaLnBrk="1" latinLnBrk="0" hangingPunct="1">
      <a:buClr>
        <a:srgbClr val="666666"/>
      </a:buClr>
      <a:buSzPct val="80000"/>
      <a:buFont typeface="Arial"/>
      <a:buChar char=""/>
      <a:defRPr lang="de-DE" sz="1400" kern="1200">
        <a:solidFill>
          <a:schemeClr val="tx1"/>
        </a:solidFill>
        <a:latin typeface="Arial"/>
        <a:ea typeface="+mn-ea"/>
        <a:cs typeface="+mn-cs"/>
      </a:defRPr>
    </a:lvl4pPr>
    <a:lvl5pPr marL="2177552" algn="l" defTabSz="1088776" rtl="0" eaLnBrk="1" latinLnBrk="0" hangingPunct="1">
      <a:buClr>
        <a:srgbClr val="666666"/>
      </a:buClr>
      <a:buSzPct val="80000"/>
      <a:buFont typeface="Arial"/>
      <a:buChar char=""/>
      <a:defRPr lang="de-DE" sz="1200" kern="1200">
        <a:solidFill>
          <a:schemeClr val="tx1"/>
        </a:solidFill>
        <a:latin typeface="Arial"/>
        <a:ea typeface="+mn-ea"/>
        <a:cs typeface="+mn-cs"/>
      </a:defRPr>
    </a:lvl5pPr>
    <a:lvl6pPr marL="272194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3F345AA-434C-4AE3-8047-A5FD22E5BA38}">
          <p14:sldIdLst>
            <p14:sldId id="258"/>
            <p14:sldId id="265"/>
            <p14:sldId id="2147483513"/>
            <p14:sldId id="288"/>
            <p14:sldId id="289"/>
            <p14:sldId id="2147483512"/>
            <p14:sldId id="301"/>
            <p14:sldId id="2147483514"/>
            <p14:sldId id="2147483511"/>
            <p14:sldId id="2147483515"/>
            <p14:sldId id="2147483516"/>
            <p14:sldId id="2147483517"/>
            <p14:sldId id="2147483518"/>
            <p14:sldId id="2147483519"/>
            <p14:sldId id="2147483520"/>
            <p14:sldId id="2147483521"/>
            <p14:sldId id="2147483522"/>
            <p14:sldId id="2147483523"/>
            <p14:sldId id="2147483524"/>
            <p14:sldId id="2147483525"/>
            <p14:sldId id="2147483526"/>
            <p14:sldId id="2147483527"/>
            <p14:sldId id="2147483528"/>
            <p14:sldId id="2147483529"/>
            <p14:sldId id="2147483530"/>
            <p14:sldId id="2147483531"/>
          </p14:sldIdLst>
        </p14:section>
      </p14:sectionLst>
    </p:ext>
    <p:ext uri="{EFAFB233-063F-42B5-8137-9DF3F51BA10A}">
      <p15:sldGuideLst xmlns:p15="http://schemas.microsoft.com/office/powerpoint/2012/main">
        <p15:guide id="1" pos="3841" userDrawn="1">
          <p15:clr>
            <a:srgbClr val="A4A3A4"/>
          </p15:clr>
        </p15:guide>
        <p15:guide id="2" orient="horz" pos="235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1D1AFF31-7A2F-128D-BB47-3B1D50ABF410}" name="Sitzenstuhl, Julia" initials="JS" userId="S::julia.sitzenstuhl@accenture.com::0ecde564-4e43-4376-b71c-fef783b14573" providerId="AD"/>
  <p188:author id="{5129F76E-7BDB-74C5-467E-3477AD327EEC}" name="Tristan Reeve" initials="TR" userId="Tristan Reeve" providerId="None"/>
  <p188:author id="{AE91D871-059B-A3C9-649E-875E3021D821}" name="Singh, Nitin" initials="" userId="S::nitin.singh03@sap.com::0349d0f7-6846-400e-bf8b-4d688b33f556" providerId="AD"/>
  <p188:author id="{F75ED88A-D47F-6662-7E9F-83F362C31C7E}" name="Stemmer, Kaya (external - Service)" initials="KS" userId="S::kaya.stemmer@sap.com::42d2abaa-3f73-4c7f-9aed-99212a3b2447" providerId="AD"/>
  <p188:author id="{63FB9B93-95B2-1559-FD61-A17AECA3AC20}" name="Dröge, Anne" initials="AD" userId="S::anne.droege@accenture.com::10d2f445-2dce-4ab5-938d-f3130b03f78f" providerId="AD"/>
  <p188:author id="{1847869B-63D9-03E2-EB9D-4C67847F1236}" name="Dröge, Anne" initials="DA" userId="S::anne.droege_accenture.com#ext#@sap.onmicrosoft.com::98071eed-5974-4a76-bb70-2f4eeda0f006" providerId="AD"/>
  <p188:author id="{CFAF52E9-D22A-3098-E097-21FB102B2FB9}" name="Rudolf, Andreas (external - Service)" initials="RS" userId="S::andreas.rudolf@sap.com::7280057f-938f-4110-99cf-aba5feaa227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C933"/>
    <a:srgbClr val="D1F5C9"/>
    <a:srgbClr val="36A41D"/>
    <a:srgbClr val="D1EFFF"/>
    <a:srgbClr val="C35515"/>
    <a:srgbClr val="F3FBFF"/>
    <a:srgbClr val="2D5F7F"/>
    <a:srgbClr val="33692E"/>
    <a:srgbClr val="89D1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3F2E98E-9D9D-0C68-DCC6-CADA5B18470D}" v="283" dt="2025-12-12T09:22:49.869"/>
    <p1510:client id="{C58890AD-8BD4-2066-FC94-90F61A4F6B87}" v="1" dt="2025-12-12T09:23:43.816"/>
  </p1510:revLst>
</p1510:revInfo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107"/>
    <p:restoredTop sz="86438"/>
  </p:normalViewPr>
  <p:slideViewPr>
    <p:cSldViewPr snapToGrid="0">
      <p:cViewPr varScale="1">
        <p:scale>
          <a:sx n="109" d="100"/>
          <a:sy n="109" d="100"/>
        </p:scale>
        <p:origin x="680" y="184"/>
      </p:cViewPr>
      <p:guideLst>
        <p:guide pos="3841"/>
        <p:guide orient="horz" pos="235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5760" y="215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customXml" Target="../customXml/item26.xml"/><Relationship Id="rId117" Type="http://schemas.openxmlformats.org/officeDocument/2006/relationships/theme" Target="theme/theme1.xml"/><Relationship Id="rId21" Type="http://schemas.openxmlformats.org/officeDocument/2006/relationships/customXml" Target="../customXml/item21.xml"/><Relationship Id="rId42" Type="http://schemas.openxmlformats.org/officeDocument/2006/relationships/customXml" Target="../customXml/item42.xml"/><Relationship Id="rId47" Type="http://schemas.openxmlformats.org/officeDocument/2006/relationships/customXml" Target="../customXml/item47.xml"/><Relationship Id="rId63" Type="http://schemas.openxmlformats.org/officeDocument/2006/relationships/slide" Target="slides/slide8.xml"/><Relationship Id="rId68" Type="http://schemas.openxmlformats.org/officeDocument/2006/relationships/slide" Target="slides/slide13.xml"/><Relationship Id="rId84" Type="http://schemas.openxmlformats.org/officeDocument/2006/relationships/font" Target="fonts/font1.fntdata"/><Relationship Id="rId89" Type="http://schemas.openxmlformats.org/officeDocument/2006/relationships/font" Target="fonts/font6.fntdata"/><Relationship Id="rId112" Type="http://schemas.openxmlformats.org/officeDocument/2006/relationships/font" Target="fonts/font29.fntdata"/><Relationship Id="rId16" Type="http://schemas.openxmlformats.org/officeDocument/2006/relationships/customXml" Target="../customXml/item16.xml"/><Relationship Id="rId107" Type="http://schemas.openxmlformats.org/officeDocument/2006/relationships/font" Target="fonts/font24.fntdata"/><Relationship Id="rId11" Type="http://schemas.openxmlformats.org/officeDocument/2006/relationships/customXml" Target="../customXml/item11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53" Type="http://schemas.openxmlformats.org/officeDocument/2006/relationships/slideMaster" Target="slideMasters/slideMaster2.xml"/><Relationship Id="rId58" Type="http://schemas.openxmlformats.org/officeDocument/2006/relationships/slide" Target="slides/slide3.xml"/><Relationship Id="rId74" Type="http://schemas.openxmlformats.org/officeDocument/2006/relationships/slide" Target="slides/slide19.xml"/><Relationship Id="rId79" Type="http://schemas.openxmlformats.org/officeDocument/2006/relationships/slide" Target="slides/slide24.xml"/><Relationship Id="rId102" Type="http://schemas.openxmlformats.org/officeDocument/2006/relationships/font" Target="fonts/font19.fntdata"/><Relationship Id="rId5" Type="http://schemas.openxmlformats.org/officeDocument/2006/relationships/customXml" Target="../customXml/item5.xml"/><Relationship Id="rId90" Type="http://schemas.openxmlformats.org/officeDocument/2006/relationships/font" Target="fonts/font7.fntdata"/><Relationship Id="rId95" Type="http://schemas.openxmlformats.org/officeDocument/2006/relationships/font" Target="fonts/font12.fntdata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43" Type="http://schemas.openxmlformats.org/officeDocument/2006/relationships/customXml" Target="../customXml/item43.xml"/><Relationship Id="rId48" Type="http://schemas.openxmlformats.org/officeDocument/2006/relationships/customXml" Target="../customXml/item48.xml"/><Relationship Id="rId64" Type="http://schemas.openxmlformats.org/officeDocument/2006/relationships/slide" Target="slides/slide9.xml"/><Relationship Id="rId69" Type="http://schemas.openxmlformats.org/officeDocument/2006/relationships/slide" Target="slides/slide14.xml"/><Relationship Id="rId113" Type="http://schemas.openxmlformats.org/officeDocument/2006/relationships/font" Target="fonts/font30.fntdata"/><Relationship Id="rId118" Type="http://schemas.openxmlformats.org/officeDocument/2006/relationships/tableStyles" Target="tableStyles.xml"/><Relationship Id="rId80" Type="http://schemas.openxmlformats.org/officeDocument/2006/relationships/slide" Target="slides/slide25.xml"/><Relationship Id="rId85" Type="http://schemas.openxmlformats.org/officeDocument/2006/relationships/font" Target="fonts/font2.fntdata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59" Type="http://schemas.openxmlformats.org/officeDocument/2006/relationships/slide" Target="slides/slide4.xml"/><Relationship Id="rId103" Type="http://schemas.openxmlformats.org/officeDocument/2006/relationships/font" Target="fonts/font20.fntdata"/><Relationship Id="rId108" Type="http://schemas.openxmlformats.org/officeDocument/2006/relationships/font" Target="fonts/font25.fntdata"/><Relationship Id="rId54" Type="http://schemas.openxmlformats.org/officeDocument/2006/relationships/slideMaster" Target="slideMasters/slideMaster3.xml"/><Relationship Id="rId70" Type="http://schemas.openxmlformats.org/officeDocument/2006/relationships/slide" Target="slides/slide15.xml"/><Relationship Id="rId75" Type="http://schemas.openxmlformats.org/officeDocument/2006/relationships/slide" Target="slides/slide20.xml"/><Relationship Id="rId91" Type="http://schemas.openxmlformats.org/officeDocument/2006/relationships/font" Target="fonts/font8.fntdata"/><Relationship Id="rId96" Type="http://schemas.openxmlformats.org/officeDocument/2006/relationships/font" Target="fonts/font13.fntdata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49" Type="http://schemas.openxmlformats.org/officeDocument/2006/relationships/customXml" Target="../customXml/item49.xml"/><Relationship Id="rId114" Type="http://schemas.openxmlformats.org/officeDocument/2006/relationships/tags" Target="tags/tag1.xml"/><Relationship Id="rId119" Type="http://schemas.microsoft.com/office/2016/11/relationships/changesInfo" Target="changesInfos/changesInfo1.xml"/><Relationship Id="rId44" Type="http://schemas.openxmlformats.org/officeDocument/2006/relationships/customXml" Target="../customXml/item44.xml"/><Relationship Id="rId60" Type="http://schemas.openxmlformats.org/officeDocument/2006/relationships/slide" Target="slides/slide5.xml"/><Relationship Id="rId65" Type="http://schemas.openxmlformats.org/officeDocument/2006/relationships/slide" Target="slides/slide10.xml"/><Relationship Id="rId81" Type="http://schemas.openxmlformats.org/officeDocument/2006/relationships/slide" Target="slides/slide26.xml"/><Relationship Id="rId86" Type="http://schemas.openxmlformats.org/officeDocument/2006/relationships/font" Target="fonts/font3.fntdata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39" Type="http://schemas.openxmlformats.org/officeDocument/2006/relationships/customXml" Target="../customXml/item39.xml"/><Relationship Id="rId109" Type="http://schemas.openxmlformats.org/officeDocument/2006/relationships/font" Target="fonts/font26.fntdata"/><Relationship Id="rId34" Type="http://schemas.openxmlformats.org/officeDocument/2006/relationships/customXml" Target="../customXml/item34.xml"/><Relationship Id="rId50" Type="http://schemas.openxmlformats.org/officeDocument/2006/relationships/customXml" Target="../customXml/item50.xml"/><Relationship Id="rId55" Type="http://schemas.openxmlformats.org/officeDocument/2006/relationships/slideMaster" Target="slideMasters/slideMaster4.xml"/><Relationship Id="rId76" Type="http://schemas.openxmlformats.org/officeDocument/2006/relationships/slide" Target="slides/slide21.xml"/><Relationship Id="rId97" Type="http://schemas.openxmlformats.org/officeDocument/2006/relationships/font" Target="fonts/font14.fntdata"/><Relationship Id="rId104" Type="http://schemas.openxmlformats.org/officeDocument/2006/relationships/font" Target="fonts/font21.fntdata"/><Relationship Id="rId120" Type="http://schemas.microsoft.com/office/2015/10/relationships/revisionInfo" Target="revisionInfo.xml"/><Relationship Id="rId7" Type="http://schemas.openxmlformats.org/officeDocument/2006/relationships/customXml" Target="../customXml/item7.xml"/><Relationship Id="rId71" Type="http://schemas.openxmlformats.org/officeDocument/2006/relationships/slide" Target="slides/slide16.xml"/><Relationship Id="rId92" Type="http://schemas.openxmlformats.org/officeDocument/2006/relationships/font" Target="fonts/font9.fntdata"/><Relationship Id="rId2" Type="http://schemas.openxmlformats.org/officeDocument/2006/relationships/customXml" Target="../customXml/item2.xml"/><Relationship Id="rId29" Type="http://schemas.openxmlformats.org/officeDocument/2006/relationships/customXml" Target="../customXml/item29.xml"/><Relationship Id="rId24" Type="http://schemas.openxmlformats.org/officeDocument/2006/relationships/customXml" Target="../customXml/item24.xml"/><Relationship Id="rId40" Type="http://schemas.openxmlformats.org/officeDocument/2006/relationships/customXml" Target="../customXml/item40.xml"/><Relationship Id="rId45" Type="http://schemas.openxmlformats.org/officeDocument/2006/relationships/customXml" Target="../customXml/item45.xml"/><Relationship Id="rId66" Type="http://schemas.openxmlformats.org/officeDocument/2006/relationships/slide" Target="slides/slide11.xml"/><Relationship Id="rId87" Type="http://schemas.openxmlformats.org/officeDocument/2006/relationships/font" Target="fonts/font4.fntdata"/><Relationship Id="rId110" Type="http://schemas.openxmlformats.org/officeDocument/2006/relationships/font" Target="fonts/font27.fntdata"/><Relationship Id="rId115" Type="http://schemas.openxmlformats.org/officeDocument/2006/relationships/presProps" Target="presProps.xml"/><Relationship Id="rId61" Type="http://schemas.openxmlformats.org/officeDocument/2006/relationships/slide" Target="slides/slide6.xml"/><Relationship Id="rId82" Type="http://schemas.openxmlformats.org/officeDocument/2006/relationships/notesMaster" Target="notesMasters/notesMaster1.xml"/><Relationship Id="rId19" Type="http://schemas.openxmlformats.org/officeDocument/2006/relationships/customXml" Target="../customXml/item19.xml"/><Relationship Id="rId14" Type="http://schemas.openxmlformats.org/officeDocument/2006/relationships/customXml" Target="../customXml/item14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56" Type="http://schemas.openxmlformats.org/officeDocument/2006/relationships/slide" Target="slides/slide1.xml"/><Relationship Id="rId77" Type="http://schemas.openxmlformats.org/officeDocument/2006/relationships/slide" Target="slides/slide22.xml"/><Relationship Id="rId100" Type="http://schemas.openxmlformats.org/officeDocument/2006/relationships/font" Target="fonts/font17.fntdata"/><Relationship Id="rId105" Type="http://schemas.openxmlformats.org/officeDocument/2006/relationships/font" Target="fonts/font22.fntdata"/><Relationship Id="rId8" Type="http://schemas.openxmlformats.org/officeDocument/2006/relationships/customXml" Target="../customXml/item8.xml"/><Relationship Id="rId51" Type="http://schemas.openxmlformats.org/officeDocument/2006/relationships/customXml" Target="../customXml/item51.xml"/><Relationship Id="rId72" Type="http://schemas.openxmlformats.org/officeDocument/2006/relationships/slide" Target="slides/slide17.xml"/><Relationship Id="rId93" Type="http://schemas.openxmlformats.org/officeDocument/2006/relationships/font" Target="fonts/font10.fntdata"/><Relationship Id="rId98" Type="http://schemas.openxmlformats.org/officeDocument/2006/relationships/font" Target="fonts/font15.fntdata"/><Relationship Id="rId121" Type="http://schemas.microsoft.com/office/2018/10/relationships/authors" Target="authors.xml"/><Relationship Id="rId3" Type="http://schemas.openxmlformats.org/officeDocument/2006/relationships/customXml" Target="../customXml/item3.xml"/><Relationship Id="rId25" Type="http://schemas.openxmlformats.org/officeDocument/2006/relationships/customXml" Target="../customXml/item25.xml"/><Relationship Id="rId46" Type="http://schemas.openxmlformats.org/officeDocument/2006/relationships/customXml" Target="../customXml/item46.xml"/><Relationship Id="rId67" Type="http://schemas.openxmlformats.org/officeDocument/2006/relationships/slide" Target="slides/slide12.xml"/><Relationship Id="rId116" Type="http://schemas.openxmlformats.org/officeDocument/2006/relationships/viewProps" Target="viewProps.xml"/><Relationship Id="rId20" Type="http://schemas.openxmlformats.org/officeDocument/2006/relationships/customXml" Target="../customXml/item20.xml"/><Relationship Id="rId41" Type="http://schemas.openxmlformats.org/officeDocument/2006/relationships/customXml" Target="../customXml/item41.xml"/><Relationship Id="rId62" Type="http://schemas.openxmlformats.org/officeDocument/2006/relationships/slide" Target="slides/slide7.xml"/><Relationship Id="rId83" Type="http://schemas.openxmlformats.org/officeDocument/2006/relationships/handoutMaster" Target="handoutMasters/handoutMaster1.xml"/><Relationship Id="rId88" Type="http://schemas.openxmlformats.org/officeDocument/2006/relationships/font" Target="fonts/font5.fntdata"/><Relationship Id="rId111" Type="http://schemas.openxmlformats.org/officeDocument/2006/relationships/font" Target="fonts/font28.fntdata"/><Relationship Id="rId15" Type="http://schemas.openxmlformats.org/officeDocument/2006/relationships/customXml" Target="../customXml/item15.xml"/><Relationship Id="rId36" Type="http://schemas.openxmlformats.org/officeDocument/2006/relationships/customXml" Target="../customXml/item36.xml"/><Relationship Id="rId57" Type="http://schemas.openxmlformats.org/officeDocument/2006/relationships/slide" Target="slides/slide2.xml"/><Relationship Id="rId106" Type="http://schemas.openxmlformats.org/officeDocument/2006/relationships/font" Target="fonts/font23.fntdata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52" Type="http://schemas.openxmlformats.org/officeDocument/2006/relationships/slideMaster" Target="slideMasters/slideMaster1.xml"/><Relationship Id="rId73" Type="http://schemas.openxmlformats.org/officeDocument/2006/relationships/slide" Target="slides/slide18.xml"/><Relationship Id="rId78" Type="http://schemas.openxmlformats.org/officeDocument/2006/relationships/slide" Target="slides/slide23.xml"/><Relationship Id="rId94" Type="http://schemas.openxmlformats.org/officeDocument/2006/relationships/font" Target="fonts/font11.fntdata"/><Relationship Id="rId99" Type="http://schemas.openxmlformats.org/officeDocument/2006/relationships/font" Target="fonts/font16.fntdata"/><Relationship Id="rId101" Type="http://schemas.openxmlformats.org/officeDocument/2006/relationships/font" Target="fonts/font18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chnepf, Patrick" userId="S::uas0041282@stud.fra-uas.de::4b9cf388-e12e-4e6b-aab3-22cbc2e97e61" providerId="AD" clId="Web-{73F2E98E-9D9D-0C68-DCC6-CADA5B18470D}"/>
    <pc:docChg chg="modSld">
      <pc:chgData name="Schnepf, Patrick" userId="S::uas0041282@stud.fra-uas.de::4b9cf388-e12e-4e6b-aab3-22cbc2e97e61" providerId="AD" clId="Web-{73F2E98E-9D9D-0C68-DCC6-CADA5B18470D}" dt="2025-12-12T09:22:45.839" v="155"/>
      <pc:docMkLst>
        <pc:docMk/>
      </pc:docMkLst>
      <pc:sldChg chg="modSp">
        <pc:chgData name="Schnepf, Patrick" userId="S::uas0041282@stud.fra-uas.de::4b9cf388-e12e-4e6b-aab3-22cbc2e97e61" providerId="AD" clId="Web-{73F2E98E-9D9D-0C68-DCC6-CADA5B18470D}" dt="2025-12-12T09:18:50.039" v="96"/>
        <pc:sldMkLst>
          <pc:docMk/>
          <pc:sldMk cId="79692663" sldId="267"/>
        </pc:sldMkLst>
        <pc:graphicFrameChg chg="mod modGraphic">
          <ac:chgData name="Schnepf, Patrick" userId="S::uas0041282@stud.fra-uas.de::4b9cf388-e12e-4e6b-aab3-22cbc2e97e61" providerId="AD" clId="Web-{73F2E98E-9D9D-0C68-DCC6-CADA5B18470D}" dt="2025-12-12T09:18:29.303" v="77"/>
          <ac:graphicFrameMkLst>
            <pc:docMk/>
            <pc:sldMk cId="79692663" sldId="267"/>
            <ac:graphicFrameMk id="11" creationId="{C21E78F7-CB56-DA3A-6FF1-0C1A882A28C8}"/>
          </ac:graphicFrameMkLst>
        </pc:graphicFrameChg>
        <pc:graphicFrameChg chg="mod modGraphic">
          <ac:chgData name="Schnepf, Patrick" userId="S::uas0041282@stud.fra-uas.de::4b9cf388-e12e-4e6b-aab3-22cbc2e97e61" providerId="AD" clId="Web-{73F2E98E-9D9D-0C68-DCC6-CADA5B18470D}" dt="2025-12-12T09:18:50.039" v="96"/>
          <ac:graphicFrameMkLst>
            <pc:docMk/>
            <pc:sldMk cId="79692663" sldId="267"/>
            <ac:graphicFrameMk id="15" creationId="{303EF505-49D3-B2EC-0731-684336D010A9}"/>
          </ac:graphicFrameMkLst>
        </pc:graphicFrameChg>
      </pc:sldChg>
      <pc:sldChg chg="addSp delSp modSp">
        <pc:chgData name="Schnepf, Patrick" userId="S::uas0041282@stud.fra-uas.de::4b9cf388-e12e-4e6b-aab3-22cbc2e97e61" providerId="AD" clId="Web-{73F2E98E-9D9D-0C68-DCC6-CADA5B18470D}" dt="2025-12-12T09:22:45.839" v="155"/>
        <pc:sldMkLst>
          <pc:docMk/>
          <pc:sldMk cId="1183526076" sldId="288"/>
        </pc:sldMkLst>
        <pc:spChg chg="add del">
          <ac:chgData name="Schnepf, Patrick" userId="S::uas0041282@stud.fra-uas.de::4b9cf388-e12e-4e6b-aab3-22cbc2e97e61" providerId="AD" clId="Web-{73F2E98E-9D9D-0C68-DCC6-CADA5B18470D}" dt="2025-12-12T09:22:12.274" v="139"/>
          <ac:spMkLst>
            <pc:docMk/>
            <pc:sldMk cId="1183526076" sldId="288"/>
            <ac:spMk id="7" creationId="{0F8FBE19-E2F8-09FB-819B-9E7400A8464C}"/>
          </ac:spMkLst>
        </pc:spChg>
        <pc:spChg chg="add del">
          <ac:chgData name="Schnepf, Patrick" userId="S::uas0041282@stud.fra-uas.de::4b9cf388-e12e-4e6b-aab3-22cbc2e97e61" providerId="AD" clId="Web-{73F2E98E-9D9D-0C68-DCC6-CADA5B18470D}" dt="2025-12-12T09:16:56.743" v="17"/>
          <ac:spMkLst>
            <pc:docMk/>
            <pc:sldMk cId="1183526076" sldId="288"/>
            <ac:spMk id="20" creationId="{434228BD-A578-7916-12F4-503F1EEAB3B4}"/>
          </ac:spMkLst>
        </pc:spChg>
        <pc:graphicFrameChg chg="mod modGraphic">
          <ac:chgData name="Schnepf, Patrick" userId="S::uas0041282@stud.fra-uas.de::4b9cf388-e12e-4e6b-aab3-22cbc2e97e61" providerId="AD" clId="Web-{73F2E98E-9D9D-0C68-DCC6-CADA5B18470D}" dt="2025-12-12T09:22:45.839" v="155"/>
          <ac:graphicFrameMkLst>
            <pc:docMk/>
            <pc:sldMk cId="1183526076" sldId="288"/>
            <ac:graphicFrameMk id="386" creationId="{6D2E4698-2E15-95BD-E158-3854D2D8A6C3}"/>
          </ac:graphicFrameMkLst>
        </pc:graphicFrameChg>
      </pc:sldChg>
    </pc:docChg>
  </pc:docChgLst>
  <pc:docChgLst>
    <pc:chgData name="Schnepf, Patrick" userId="S::uas0041282@stud.fra-uas.de::4b9cf388-e12e-4e6b-aab3-22cbc2e97e61" providerId="AD" clId="Web-{C58890AD-8BD4-2066-FC94-90F61A4F6B87}"/>
    <pc:docChg chg="modSld">
      <pc:chgData name="Schnepf, Patrick" userId="S::uas0041282@stud.fra-uas.de::4b9cf388-e12e-4e6b-aab3-22cbc2e97e61" providerId="AD" clId="Web-{C58890AD-8BD4-2066-FC94-90F61A4F6B87}" dt="2025-12-12T09:23:43.816" v="0"/>
      <pc:docMkLst>
        <pc:docMk/>
      </pc:docMkLst>
      <pc:sldChg chg="modSp">
        <pc:chgData name="Schnepf, Patrick" userId="S::uas0041282@stud.fra-uas.de::4b9cf388-e12e-4e6b-aab3-22cbc2e97e61" providerId="AD" clId="Web-{C58890AD-8BD4-2066-FC94-90F61A4F6B87}" dt="2025-12-12T09:23:43.816" v="0"/>
        <pc:sldMkLst>
          <pc:docMk/>
          <pc:sldMk cId="1183526076" sldId="288"/>
        </pc:sldMkLst>
        <pc:graphicFrameChg chg="modGraphic">
          <ac:chgData name="Schnepf, Patrick" userId="S::uas0041282@stud.fra-uas.de::4b9cf388-e12e-4e6b-aab3-22cbc2e97e61" providerId="AD" clId="Web-{C58890AD-8BD4-2066-FC94-90F61A4F6B87}" dt="2025-12-12T09:23:43.816" v="0"/>
          <ac:graphicFrameMkLst>
            <pc:docMk/>
            <pc:sldMk cId="1183526076" sldId="288"/>
            <ac:graphicFrameMk id="386" creationId="{6D2E4698-2E15-95BD-E158-3854D2D8A6C3}"/>
          </ac:graphicFrameMkLst>
        </pc:graphicFrameChg>
      </pc:sldChg>
    </pc:docChg>
  </pc:docChgLst>
  <pc:docChgLst>
    <pc:chgData name="El Azraq, Fatima-Zahra" userId="S::uas0009494@stud.fra-uas.de::e302decc-cfff-481d-a1d6-5c7ccee864a8" providerId="AD" clId="Web-{7DB97991-F68B-E778-7249-BC97DEF97B30}"/>
    <pc:docChg chg="modSld">
      <pc:chgData name="El Azraq, Fatima-Zahra" userId="S::uas0009494@stud.fra-uas.de::e302decc-cfff-481d-a1d6-5c7ccee864a8" providerId="AD" clId="Web-{7DB97991-F68B-E778-7249-BC97DEF97B30}" dt="2025-12-05T12:16:15.755" v="3" actId="1076"/>
      <pc:docMkLst>
        <pc:docMk/>
      </pc:docMkLst>
      <pc:sldChg chg="modSp">
        <pc:chgData name="El Azraq, Fatima-Zahra" userId="S::uas0009494@stud.fra-uas.de::e302decc-cfff-481d-a1d6-5c7ccee864a8" providerId="AD" clId="Web-{7DB97991-F68B-E778-7249-BC97DEF97B30}" dt="2025-12-05T12:16:15.755" v="3" actId="1076"/>
        <pc:sldMkLst>
          <pc:docMk/>
          <pc:sldMk cId="3390793184" sldId="2147483432"/>
        </pc:sldMkLst>
        <pc:spChg chg="mod">
          <ac:chgData name="El Azraq, Fatima-Zahra" userId="S::uas0009494@stud.fra-uas.de::e302decc-cfff-481d-a1d6-5c7ccee864a8" providerId="AD" clId="Web-{7DB97991-F68B-E778-7249-BC97DEF97B30}" dt="2025-12-05T12:16:14.786" v="2" actId="1076"/>
          <ac:spMkLst>
            <pc:docMk/>
            <pc:sldMk cId="3390793184" sldId="2147483432"/>
            <ac:spMk id="13" creationId="{F66307A8-CBF1-440C-B5F4-9274698CE55C}"/>
          </ac:spMkLst>
        </pc:spChg>
        <pc:spChg chg="mod">
          <ac:chgData name="El Azraq, Fatima-Zahra" userId="S::uas0009494@stud.fra-uas.de::e302decc-cfff-481d-a1d6-5c7ccee864a8" providerId="AD" clId="Web-{7DB97991-F68B-E778-7249-BC97DEF97B30}" dt="2025-12-05T12:16:15.755" v="3" actId="1076"/>
          <ac:spMkLst>
            <pc:docMk/>
            <pc:sldMk cId="3390793184" sldId="2147483432"/>
            <ac:spMk id="17" creationId="{7D112845-C5E9-4904-ACA1-E3CE47096904}"/>
          </ac:spMkLst>
        </pc:spChg>
      </pc:sldChg>
    </pc:docChg>
  </pc:docChgLst>
  <pc:docChgLst>
    <pc:chgData name="El Azraq, Fatima-Zahra" userId="S::uas0009494@stud.fra-uas.de::e302decc-cfff-481d-a1d6-5c7ccee864a8" providerId="AD" clId="Web-{0A87251A-C2ED-A651-FA47-E418E23C6621}"/>
    <pc:docChg chg="modSld">
      <pc:chgData name="El Azraq, Fatima-Zahra" userId="S::uas0009494@stud.fra-uas.de::e302decc-cfff-481d-a1d6-5c7ccee864a8" providerId="AD" clId="Web-{0A87251A-C2ED-A651-FA47-E418E23C6621}" dt="2025-12-08T09:55:25.956" v="0" actId="1076"/>
      <pc:docMkLst>
        <pc:docMk/>
      </pc:docMkLst>
      <pc:sldChg chg="modSp">
        <pc:chgData name="El Azraq, Fatima-Zahra" userId="S::uas0009494@stud.fra-uas.de::e302decc-cfff-481d-a1d6-5c7ccee864a8" providerId="AD" clId="Web-{0A87251A-C2ED-A651-FA47-E418E23C6621}" dt="2025-12-08T09:55:25.956" v="0" actId="1076"/>
        <pc:sldMkLst>
          <pc:docMk/>
          <pc:sldMk cId="2588132921" sldId="270"/>
        </pc:sldMkLst>
        <pc:spChg chg="mod">
          <ac:chgData name="El Azraq, Fatima-Zahra" userId="S::uas0009494@stud.fra-uas.de::e302decc-cfff-481d-a1d6-5c7ccee864a8" providerId="AD" clId="Web-{0A87251A-C2ED-A651-FA47-E418E23C6621}" dt="2025-12-08T09:55:25.956" v="0" actId="1076"/>
          <ac:spMkLst>
            <pc:docMk/>
            <pc:sldMk cId="2588132921" sldId="270"/>
            <ac:spMk id="5" creationId="{E498DA22-1638-53F4-B737-9A6C3F509565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explosion val="3"/>
          <c:dPt>
            <c:idx val="0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4A2-4FCA-89DC-573E27F12D38}"/>
              </c:ext>
            </c:extLst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4A2-4FCA-89DC-573E27F12D38}"/>
              </c:ext>
            </c:extLst>
          </c:dPt>
          <c:dPt>
            <c:idx val="2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4A2-4FCA-89DC-573E27F12D38}"/>
              </c:ext>
            </c:extLst>
          </c:dPt>
          <c:dPt>
            <c:idx val="3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4A2-4FCA-89DC-573E27F12D38}"/>
              </c:ext>
            </c:extLst>
          </c:dPt>
          <c:dPt>
            <c:idx val="4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4A2-4FCA-89DC-573E27F12D38}"/>
              </c:ext>
            </c:extLst>
          </c:dPt>
          <c:cat>
            <c:numRef>
              <c:f>Sheet1!$A$2:$A$4</c:f>
              <c:numCache>
                <c:formatCode>General</c:formatCode>
                <c:ptCount val="3"/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5</c:v>
                </c:pt>
                <c:pt idx="1">
                  <c:v>13</c:v>
                </c:pt>
                <c:pt idx="2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4A2-4FCA-89DC-573E27F12D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194310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ctr"/>
            <a:fld id="{47855BD9-AF71-426C-9B9B-B0E52B88852E}" type="slidenum">
              <a:rPr lang="de-DE" sz="1000" smtClean="0">
                <a:latin typeface="Arial" panose="020B0604020202020204" pitchFamily="34" charset="0"/>
              </a:rPr>
              <a:pPr algn="ctr"/>
              <a:t>‹Nr.›</a:t>
            </a:fld>
            <a:endParaRPr lang="de-DE" sz="100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9932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47688" y="612775"/>
            <a:ext cx="5762625" cy="3241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49000" y="4120162"/>
            <a:ext cx="5760000" cy="45635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957512" y="8935722"/>
            <a:ext cx="942976" cy="20535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800" b="0" i="0">
                <a:latin typeface="Arial" panose="020B0604020202020204" pitchFamily="34" charset="0"/>
              </a:defRPr>
            </a:lvl1pPr>
          </a:lstStyle>
          <a:p>
            <a:fld id="{7D8C2C35-2B8A-446E-BEC0-FD36716C29AC}" type="slidenum">
              <a:rPr lang="en-DE" smtClean="0"/>
              <a:pPr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847385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88776" rtl="0" eaLnBrk="1" latinLnBrk="0" hangingPunct="1">
      <a:defRPr sz="14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180000" indent="-180000" algn="l" defTabSz="1088776" rtl="0" eaLnBrk="1" latinLnBrk="0" hangingPunct="1">
      <a:buClr>
        <a:schemeClr val="accent1"/>
      </a:buClr>
      <a:buSzPct val="100000"/>
      <a:buFont typeface="Wingdings" pitchFamily="2" charset="2"/>
      <a:buChar char=""/>
      <a:defRPr sz="14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360000" indent="-180000" algn="l" defTabSz="1088776" rtl="0" eaLnBrk="1" latinLnBrk="0" hangingPunct="1">
      <a:buClr>
        <a:schemeClr val="accent2"/>
      </a:buClr>
      <a:buSzPct val="80000"/>
      <a:buFont typeface="Symbol" pitchFamily="18" charset="2"/>
      <a:buChar char="-"/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674815" indent="-158780" algn="l" defTabSz="1088776" rtl="0" eaLnBrk="1" latinLnBrk="0" hangingPunct="1">
      <a:buClr>
        <a:schemeClr val="accent2"/>
      </a:buClr>
      <a:buFont typeface="Arial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2177552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721940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914B8F-74B0-1803-142A-E8AC98DB87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1FB38DE-D18E-94A4-3363-A34D8A9F71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0238532-9F4C-779C-207E-AD4A5B5C77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BCEA5D-917C-D342-E805-A7F6FEC14C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07803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CAE084-E490-F8C3-B9D7-693DC9FB21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9491D74-9460-114E-7389-FE88C0B850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540B775-0A9F-87A1-55E0-DA102230D15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49C309-C4E4-9CD6-27F0-0F1A3872B0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485844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190434-572D-36A3-077B-1AA60BF17F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B3DCB96-264E-141C-6A32-10B68E8CE2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A9B2674-7A4F-3EB2-AF57-A563CF8B4B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51CBFC-0F41-8230-F2FD-D53015214F4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99902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D98C4C-BE08-177B-EDB0-B9C5F89DC2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BD47948-94D4-5BFF-1137-F5E1586950D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0222132-EDE8-7B70-55C7-186200562B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9BA013-7D9F-5AE6-BAFD-9E8FB1BF8BC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99054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082141-87D1-096A-D53C-8EF2CA09CF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02797F4-FCE1-4468-1666-42B337B3072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CC49E70-5886-E916-9DF9-6858B52158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346260-68D2-B943-2851-0363F11DC19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964021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50FC13-AC11-D075-DC6A-982E4F76CB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2E7F9EB-4788-8365-F014-DE07711EB40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29368F7-637C-D906-1B82-923DCF832DF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E3ECA4-903E-36D2-7038-E8BDCF831AE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661970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622B27-0817-167C-D402-D59350A7E9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CAF045F-2304-5AAF-6C34-754D827CEE3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8111703-5184-13F4-9CCC-32AE18D7BB9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6AA5A0-2553-6B34-250A-495C4871C37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914785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7D78BD-75DE-CA03-F421-DA91460F76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3279430-19FE-D4F4-BD89-17D5522959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9B55C4F-8A67-85B0-FA1F-675281AB229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608C8-18C0-23D3-47C1-8A3D0CBE12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438689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A6188F-3193-745E-3BD2-E290697A3E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845B08-DDD3-1995-35AE-C0CF3FE0DE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4459189-923C-DF2E-8B0A-2831C0280EA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543045-17E5-EC63-5F36-F1E4CEA6985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997162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631152-8B8C-D5CC-C1E5-507FF5FBEA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7B014AA-A38E-D9B0-EF48-3C84DE1662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2B4265D-90D6-14CF-1F06-DBD46A2B92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9DB31D-0E04-EF3F-ADE4-228AB68367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629362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662D0B-F5CD-3637-D3AF-8418A11D5D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99EAA5F-3731-E447-117F-6C4567DB544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535842-23C3-1270-61FC-359D3F2EC48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543C8E-2A5F-DEAA-EBEF-0B35152D3FD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09210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C817CE-838A-74D3-3A64-ED64791169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AD61124-3C1A-740C-C441-6331A181AA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3A69C41-C86B-4964-E68C-B6E68730E8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EE4965-8B4A-3930-1389-6E88E032F1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824506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70F838-4D31-93FE-C3A6-C984A2DFC3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A5FFCAF-6E79-D7AF-3490-6FDEA963927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F0349D4-E038-BB32-6587-93334D65666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0E99B4-DA30-94FE-70B1-F2130C1E0E5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566862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B3C1CD-66EA-68F7-9E12-418FB07A8C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750A610-7F99-92A3-0EDD-323BCB6A99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810F751-A091-F294-E6CB-79CFAE6D225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EAD179-F7FA-5682-A918-13DD56E7E94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110337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9033D7-AA4A-C22C-ACB3-2744B76BA3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7E5B76B-3AD7-B9ED-C235-A20C63F624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C424F8C-768B-2804-B6B3-9147E6C2FD6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DB30DB-7E44-902E-BC20-053C6E6A97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13221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C6C903-6042-ED0B-089D-0DD8681128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DE108B3-BAE7-EB02-2B6D-1F2E6712D38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C5DCA7-C6BA-F082-E64D-C9B35907CF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062804-3346-6529-E9BC-BF1EB19E8B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454324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52D1D0-34E6-3ED3-B609-929F4DD4F9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4F8B154-3BB2-A515-A145-0977287102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0F94534-1120-B714-CF14-3107F4919D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F72686-47A4-02C8-CE5E-9691E4F05A0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195334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EA893C-5364-6103-BFBD-010CA40A42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8894995-E54E-2560-D977-4DE2354B53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72008FD-1A02-F32D-3162-39EDE6AE47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22BDB5-A770-2C9A-218E-4AEECABB7DC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596201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09C60B-2C6C-8AC9-A7EA-03EB7586BC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D22710-D3B5-62D8-64BE-3056DF60E9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847388D-FCD9-C2CE-FF38-C854D6712E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B25A84-CC8E-C84D-ECD2-28A6834C5C4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80954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482B11-283E-6184-1F24-06E08D764C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EB2B7DC-419F-E3D1-680D-003510237C0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D805458-41F5-309F-07C3-9EFA8A0AB9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743047-6922-1CFE-67E0-467881C773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44373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C772A6-72F8-A176-0F64-7C16B697D3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06CC3D8-7CCF-5A20-8774-4B72F26F22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D8FDC2F-4360-1900-617D-78299E2E0D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6534A4-4F8C-7D41-FC07-4F9A2DCFCED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09245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69DB19-CA61-19C7-39B8-9AF22F2F30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B78CBF4-1D24-761A-DD2E-303C33DC17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9A65F0-3A83-F7DD-48D5-35A520FC36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CB35D6-9B72-E21C-C615-C87EEE18C0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09404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A2FFAD-34E7-1FB4-151A-9FA39B4F2F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9987FF-D77C-D3D9-03D7-42082A35997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5F75116-18E7-99E0-3E09-A974CFD7AC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020E8D-A019-05C0-90D7-7547A5F0159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36875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7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9269645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A3E7C9-29F1-9454-0126-167A65DB87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0F9A2A-45F5-06D5-85A9-9D480C14E5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A1A2D59-5294-0DEE-115D-D2F80C8200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3267A-69CE-0D19-6180-53F241E929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8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4348773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29537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6.xml"/><Relationship Id="rId6" Type="http://schemas.openxmlformats.org/officeDocument/2006/relationships/image" Target="../media/image2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sv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4.xml"/><Relationship Id="rId6" Type="http://schemas.openxmlformats.org/officeDocument/2006/relationships/image" Target="../media/image2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369E6551-269A-D225-4CF8-EC6D532E4902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441288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73D104-EF7E-A0AB-2243-882D65E686E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75363" y="0"/>
            <a:ext cx="6119812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1271884541" name="LogoBlue-Dynamic" descr="{&quot;templafy&quot;:{&quot;id&quot;:&quot;e1ff4155-3db1-4bbb-85a7-437eca614c8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6" name="Classification-Dynamic" descr="{&quot;templafy&quot;:{&quot;id&quot;:&quot;1400d254-c5b0-49a9-bbba-c97223cc9af9&quot;}}">
            <a:extLst>
              <a:ext uri="{FF2B5EF4-FFF2-40B4-BE49-F238E27FC236}">
                <a16:creationId xmlns:a16="http://schemas.microsoft.com/office/drawing/2014/main" id="{870EB466-B92B-9D4D-974E-A49C0F424152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982410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704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 an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9DE307C8-D1C3-00E2-C5B0-2A7EBB981384}"/>
              </a:ext>
            </a:extLst>
          </p:cNvPr>
          <p:cNvSpPr/>
          <p:nvPr/>
        </p:nvSpPr>
        <p:spPr>
          <a:xfrm>
            <a:off x="0" y="0"/>
            <a:ext cx="12195175" cy="6861495"/>
          </a:xfrm>
          <a:custGeom>
            <a:avLst/>
            <a:gdLst>
              <a:gd name="connsiteX0" fmla="*/ 0 w 12195175"/>
              <a:gd name="connsiteY0" fmla="*/ 0 h 6861495"/>
              <a:gd name="connsiteX1" fmla="*/ 12195175 w 12195175"/>
              <a:gd name="connsiteY1" fmla="*/ 0 h 6861495"/>
              <a:gd name="connsiteX2" fmla="*/ 12195175 w 12195175"/>
              <a:gd name="connsiteY2" fmla="*/ 6861496 h 6861495"/>
              <a:gd name="connsiteX3" fmla="*/ 0 w 12195175"/>
              <a:gd name="connsiteY3" fmla="*/ 6861496 h 6861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61495">
                <a:moveTo>
                  <a:pt x="0" y="0"/>
                </a:moveTo>
                <a:lnTo>
                  <a:pt x="12195175" y="0"/>
                </a:lnTo>
                <a:lnTo>
                  <a:pt x="12195175" y="6861496"/>
                </a:lnTo>
                <a:lnTo>
                  <a:pt x="0" y="6861496"/>
                </a:lnTo>
                <a:close/>
              </a:path>
            </a:pathLst>
          </a:custGeom>
          <a:solidFill>
            <a:srgbClr val="0057D2"/>
          </a:solidFill>
          <a:ln w="1016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" name="Anvil" descr="preencoded.png">
            <a:extLst>
              <a:ext uri="{FF2B5EF4-FFF2-40B4-BE49-F238E27FC236}">
                <a16:creationId xmlns:a16="http://schemas.microsoft.com/office/drawing/2014/main" id="{6C575B3E-49FD-8450-F2CB-84C6E7A1153D}"/>
              </a:ext>
            </a:extLst>
          </p:cNvPr>
          <p:cNvSpPr/>
          <p:nvPr/>
        </p:nvSpPr>
        <p:spPr>
          <a:xfrm>
            <a:off x="752355" y="1156532"/>
            <a:ext cx="5613722" cy="2756252"/>
          </a:xfrm>
          <a:custGeom>
            <a:avLst/>
            <a:gdLst>
              <a:gd name="connsiteX0" fmla="*/ 0 w 5613722"/>
              <a:gd name="connsiteY0" fmla="*/ 0 h 2756252"/>
              <a:gd name="connsiteX1" fmla="*/ 0 w 5613722"/>
              <a:gd name="connsiteY1" fmla="*/ 2756252 h 2756252"/>
              <a:gd name="connsiteX2" fmla="*/ 2852875 w 5613722"/>
              <a:gd name="connsiteY2" fmla="*/ 2756252 h 2756252"/>
              <a:gd name="connsiteX3" fmla="*/ 5613722 w 5613722"/>
              <a:gd name="connsiteY3" fmla="*/ 0 h 2756252"/>
              <a:gd name="connsiteX4" fmla="*/ 0 w 5613722"/>
              <a:gd name="connsiteY4" fmla="*/ 0 h 2756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3722" h="2756252">
                <a:moveTo>
                  <a:pt x="0" y="0"/>
                </a:moveTo>
                <a:lnTo>
                  <a:pt x="0" y="2756252"/>
                </a:lnTo>
                <a:lnTo>
                  <a:pt x="2852875" y="2756252"/>
                </a:lnTo>
                <a:lnTo>
                  <a:pt x="5613722" y="0"/>
                </a:lnTo>
                <a:lnTo>
                  <a:pt x="0" y="0"/>
                </a:lnTo>
                <a:close/>
              </a:path>
            </a:pathLst>
          </a:custGeom>
          <a:solidFill>
            <a:srgbClr val="1B90FF"/>
          </a:solidFill>
          <a:ln w="927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F6D8674-EA25-0C87-7F7A-4B6FFA7F1F1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36062" y="0"/>
            <a:ext cx="4359114" cy="6858000"/>
          </a:xfrm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222ABC1-A03E-5EDE-02E2-6F3794850C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401" y="2206502"/>
            <a:ext cx="5529704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bg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62713959" name="LogoWhite-Dynamic" descr="{&quot;templafy&quot;:{&quot;id&quot;:&quot;ae30ed49-76db-405c-8e79-7aba1a001200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5" name="Classification-Dynamic" descr="{&quot;templafy&quot;:{&quot;id&quot;:&quot;c0ba914e-4f09-45b0-9f6c-35c8b490f42b&quot;}}">
            <a:extLst>
              <a:ext uri="{FF2B5EF4-FFF2-40B4-BE49-F238E27FC236}">
                <a16:creationId xmlns:a16="http://schemas.microsoft.com/office/drawing/2014/main" id="{7A6CB977-D711-D436-9DC2-AAFCC56F9CAA}"/>
              </a:ext>
            </a:extLst>
          </p:cNvPr>
          <p:cNvSpPr txBox="1"/>
          <p:nvPr userDrawn="1"/>
        </p:nvSpPr>
        <p:spPr>
          <a:xfrm>
            <a:off x="440401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9797496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580844"/>
            <a:ext cx="11185200" cy="4764394"/>
          </a:xfrm>
        </p:spPr>
        <p:txBody>
          <a:bodyPr>
            <a:norm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2000" b="0"/>
            </a:lvl1pPr>
            <a:lvl2pPr marL="179964" marR="0" indent="-179964" algn="l" defTabSz="108855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800"/>
            </a:lvl2pPr>
            <a:lvl3pPr marL="359928" marR="0" indent="-179352" algn="l" defTabSz="10885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800" baseline="0"/>
            </a:lvl3pPr>
            <a:lvl4pPr marL="539892" marR="0" indent="-179964" algn="l" defTabSz="1088558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59360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981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6" userDrawn="1">
          <p15:clr>
            <a:srgbClr val="FBAE40"/>
          </p15:clr>
        </p15:guide>
        <p15:guide id="5" orient="horz" pos="551" userDrawn="1">
          <p15:clr>
            <a:srgbClr val="FBAE40"/>
          </p15:clr>
        </p15:guide>
        <p15:guide id="6" orient="horz" pos="399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952787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  <p15:guide id="3" pos="736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898527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03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453302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03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743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551" userDrawn="1">
          <p15:clr>
            <a:srgbClr val="FBAE40"/>
          </p15:clr>
        </p15:guide>
        <p15:guide id="5" orient="horz" pos="399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1650" y="1557338"/>
            <a:ext cx="11186477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332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 userDrawn="1">
          <p15:clr>
            <a:srgbClr val="FBAE40"/>
          </p15:clr>
        </p15:guide>
        <p15:guide id="2" orient="horz" pos="399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8" userDrawn="1">
          <p15:clr>
            <a:srgbClr val="FBAE40"/>
          </p15:clr>
        </p15:guide>
        <p15:guide id="5" orient="horz" pos="552" userDrawn="1">
          <p15:clr>
            <a:srgbClr val="FBAE40"/>
          </p15:clr>
        </p15:guide>
        <p15:guide id="6" orient="horz" pos="981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481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pos="3674" userDrawn="1">
          <p15:clr>
            <a:srgbClr val="FBAE40"/>
          </p15:clr>
        </p15:guide>
        <p15:guide id="5" pos="4007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981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416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563" userDrawn="1">
          <p15:clr>
            <a:srgbClr val="FBAE40"/>
          </p15:clr>
        </p15:guide>
        <p15:guide id="4" pos="2717" userDrawn="1">
          <p15:clr>
            <a:srgbClr val="FBAE40"/>
          </p15:clr>
        </p15:guide>
        <p15:guide id="5" pos="4964" userDrawn="1">
          <p15:clr>
            <a:srgbClr val="FBAE40"/>
          </p15:clr>
        </p15:guide>
        <p15:guide id="6" pos="5119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981" userDrawn="1">
          <p15:clr>
            <a:srgbClr val="FBAE40"/>
          </p15:clr>
        </p15:guide>
        <p15:guide id="10" orient="horz" pos="399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557337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7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94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2750" userDrawn="1">
          <p15:clr>
            <a:srgbClr val="FBAE40"/>
          </p15:clr>
        </p15:guide>
        <p15:guide id="6" orient="horz" pos="3004" userDrawn="1">
          <p15:clr>
            <a:srgbClr val="FBAE40"/>
          </p15:clr>
        </p15:guide>
        <p15:guide id="7" orient="horz" pos="3997" userDrawn="1">
          <p15:clr>
            <a:srgbClr val="FBAE40"/>
          </p15:clr>
        </p15:guide>
        <p15:guide id="8" pos="3682" userDrawn="1">
          <p15:clr>
            <a:srgbClr val="FBAE40"/>
          </p15:clr>
        </p15:guide>
        <p15:guide id="9" pos="4000" userDrawn="1">
          <p15:clr>
            <a:srgbClr val="FBAE40"/>
          </p15:clr>
        </p15:guide>
        <p15:guide id="10" pos="7364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cover with anvil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67B704E-206C-83F1-209C-8AC5AA593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375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7B704E-206C-83F1-209C-8AC5AA593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37E79459-E5C5-5E87-E38B-80855D38E462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rgbClr val="00144A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846E736-979F-0D4B-6D59-D0EA5D367E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0936" y="1216758"/>
            <a:ext cx="8887864" cy="4424483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79869855" name="LogoWhite-Dynamic" descr="{&quot;templafy&quot;:{&quot;id&quot;:&quot;f311321f-6dec-468e-bf1d-41970cf5b78d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7" name="Classification-Dynamic" descr="{&quot;templafy&quot;:{&quot;id&quot;:&quot;34991d23-440a-47c2-bb45-be4011253002&quot;}}">
            <a:extLst>
              <a:ext uri="{FF2B5EF4-FFF2-40B4-BE49-F238E27FC236}">
                <a16:creationId xmlns:a16="http://schemas.microsoft.com/office/drawing/2014/main" id="{1D05DC80-84C9-9ECA-3B84-3577D8D8165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667257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667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455" userDrawn="1">
          <p15:clr>
            <a:srgbClr val="FBAE40"/>
          </p15:clr>
        </p15:guide>
        <p15:guide id="4" pos="2773" userDrawn="1">
          <p15:clr>
            <a:srgbClr val="FBAE40"/>
          </p15:clr>
        </p15:guide>
        <p15:guide id="5" pos="4910" userDrawn="1">
          <p15:clr>
            <a:srgbClr val="FBAE40"/>
          </p15:clr>
        </p15:guide>
        <p15:guide id="6" pos="5227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981" userDrawn="1">
          <p15:clr>
            <a:srgbClr val="FBAE40"/>
          </p15:clr>
        </p15:guide>
        <p15:guide id="10" orient="horz" pos="2428" userDrawn="1">
          <p15:clr>
            <a:srgbClr val="FBAE40"/>
          </p15:clr>
        </p15:guide>
        <p15:guide id="11" orient="horz" pos="2743" userDrawn="1">
          <p15:clr>
            <a:srgbClr val="FBAE40"/>
          </p15:clr>
        </p15:guide>
        <p15:guide id="12" orient="horz" pos="3997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2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2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6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6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594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2160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  <p15:guide id="7" orient="horz" pos="3990" userDrawn="1">
          <p15:clr>
            <a:srgbClr val="FBAE40"/>
          </p15:clr>
        </p15:guide>
        <p15:guide id="8" pos="1840" userDrawn="1">
          <p15:clr>
            <a:srgbClr val="FBAE40"/>
          </p15:clr>
        </p15:guide>
        <p15:guide id="9" pos="2159" userDrawn="1">
          <p15:clr>
            <a:srgbClr val="FBAE40"/>
          </p15:clr>
        </p15:guide>
        <p15:guide id="10" pos="3683" userDrawn="1">
          <p15:clr>
            <a:srgbClr val="FBAE40"/>
          </p15:clr>
        </p15:guide>
        <p15:guide id="11" pos="4000" userDrawn="1">
          <p15:clr>
            <a:srgbClr val="FBAE40"/>
          </p15:clr>
        </p15:guide>
        <p15:guide id="12" pos="5525" userDrawn="1">
          <p15:clr>
            <a:srgbClr val="FBAE40"/>
          </p15:clr>
        </p15:guide>
        <p15:guide id="13" pos="5842" userDrawn="1">
          <p15:clr>
            <a:srgbClr val="FBAE40"/>
          </p15:clr>
        </p15:guide>
        <p15:guide id="14" pos="7364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921" indent="-395921">
              <a:lnSpc>
                <a:spcPct val="90000"/>
              </a:lnSpc>
              <a:spcBef>
                <a:spcPts val="600"/>
              </a:spcBef>
              <a:defRPr sz="5999" b="0" i="0">
                <a:latin typeface="72 Brand Medium" panose="020B0504030603020204" pitchFamily="34" charset="0"/>
              </a:defRPr>
            </a:lvl1pPr>
            <a:lvl2pPr marL="395921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932785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4" orient="horz" pos="1133" userDrawn="1">
          <p15:clr>
            <a:srgbClr val="FBAE40"/>
          </p15:clr>
        </p15:guide>
        <p15:guide id="5" orient="horz" pos="3204" userDrawn="1">
          <p15:clr>
            <a:srgbClr val="FBAE40"/>
          </p15:clr>
        </p15:guide>
        <p15:guide id="6" pos="7363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557338"/>
            <a:ext cx="7092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020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4786" userDrawn="1">
          <p15:clr>
            <a:srgbClr val="FBAE40"/>
          </p15:clr>
        </p15:guide>
        <p15:guide id="4" pos="5111" userDrawn="1">
          <p15:clr>
            <a:srgbClr val="FBAE40"/>
          </p15:clr>
        </p15:guide>
        <p15:guide id="5" orient="horz" pos="317" userDrawn="1">
          <p15:clr>
            <a:srgbClr val="FBAE40"/>
          </p15:clr>
        </p15:guide>
        <p15:guide id="6" orient="horz" pos="551" userDrawn="1">
          <p15:clr>
            <a:srgbClr val="FBAE40"/>
          </p15:clr>
        </p15:guide>
        <p15:guide id="7" orient="horz" pos="981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97911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557338"/>
            <a:ext cx="5328000" cy="4778662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5328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227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981" userDrawn="1">
          <p15:clr>
            <a:srgbClr val="FBAE40"/>
          </p15:clr>
        </p15:guide>
        <p15:guide id="3" pos="3674" userDrawn="1">
          <p15:clr>
            <a:srgbClr val="FBAE40"/>
          </p15:clr>
        </p15:guide>
        <p15:guide id="4" pos="4008" userDrawn="1">
          <p15:clr>
            <a:srgbClr val="FBAE40"/>
          </p15:clr>
        </p15:guide>
        <p15:guide id="5" pos="7364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3991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557338"/>
            <a:ext cx="11185200" cy="4778662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098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3991" userDrawn="1">
          <p15:clr>
            <a:srgbClr val="FBAE40"/>
          </p15:clr>
        </p15:guide>
        <p15:guide id="6" pos="736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4218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1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38" y="2905125"/>
            <a:ext cx="183704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 b="0" i="0">
                <a:latin typeface="+mn-lt"/>
              </a:rPr>
              <a:t>Contact information:</a:t>
            </a:r>
          </a:p>
        </p:txBody>
      </p:sp>
      <p:sp>
        <p:nvSpPr>
          <p:cNvPr id="9" name="Copyright - Dynamic" descr="{&quot;templafy&quot;:{&quot;id&quot;:&quot;68c8689a-7a81-470c-8a82-d35a6ccb8b77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+mn-lt"/>
              </a:rPr>
              <a:t>© 2024 SAP SE or an SAP affiliate company. All rights reserved. See Legal Notice on </a:t>
            </a:r>
            <a:r>
              <a:rPr lang="en-US" sz="600" b="0" i="0" err="1">
                <a:latin typeface="+mn-lt"/>
              </a:rPr>
              <a:t>www.sap.com</a:t>
            </a:r>
            <a:r>
              <a:rPr lang="en-US" sz="600" b="0" i="0">
                <a:latin typeface="+mn-lt"/>
              </a:rPr>
              <a:t>/legal-notice for use terms, disclaimers, disclosures, or restrictions related to this material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92DE12-4084-77D2-FD2A-8E63F6FBE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520825"/>
            <a:ext cx="5413477" cy="846386"/>
          </a:xfrm>
        </p:spPr>
        <p:txBody>
          <a:bodyPr/>
          <a:lstStyle>
            <a:lvl1pPr>
              <a:defRPr sz="5500" b="0" i="0">
                <a:latin typeface="72 Brand Medium" panose="020B0504030603020204" pitchFamily="34" charset="0"/>
              </a:defRPr>
            </a:lvl1pPr>
          </a:lstStyle>
          <a:p>
            <a:r>
              <a:rPr lang="en-GB"/>
              <a:t>Thank you.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23274F-1EBD-A73A-AC54-963A234E9E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291" y="5990000"/>
            <a:ext cx="72705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09031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 userDrawn="1">
          <p15:clr>
            <a:srgbClr val="FBAE40"/>
          </p15:clr>
        </p15:guide>
        <p15:guide id="2" orient="horz" pos="958" userDrawn="1">
          <p15:clr>
            <a:srgbClr val="FBAE40"/>
          </p15:clr>
        </p15:guide>
        <p15:guide id="4" orient="horz" pos="1830" userDrawn="1">
          <p15:clr>
            <a:srgbClr val="FBAE40"/>
          </p15:clr>
        </p15:guide>
        <p15:guide id="5" orient="horz" pos="4000" userDrawn="1">
          <p15:clr>
            <a:srgbClr val="FBAE40"/>
          </p15:clr>
        </p15:guide>
        <p15:guide id="6" pos="317" userDrawn="1">
          <p15:clr>
            <a:srgbClr val="FBAE40"/>
          </p15:clr>
        </p15:guide>
        <p15:guide id="8" pos="3841" userDrawn="1">
          <p15:clr>
            <a:srgbClr val="FBAE40"/>
          </p15:clr>
        </p15:guide>
        <p15:guide id="9" orient="horz" pos="318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48B029D-C1BA-6745-8ADE-EF91FC90E08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26118" y="0"/>
            <a:ext cx="4069057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172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ngo cover with anvil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7CC981-2E4E-11B1-C37B-1DDB5D3E5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06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CC981-2E4E-11B1-C37B-1DDB5D3E5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48">
            <a:extLst>
              <a:ext uri="{FF2B5EF4-FFF2-40B4-BE49-F238E27FC236}">
                <a16:creationId xmlns:a16="http://schemas.microsoft.com/office/drawing/2014/main" id="{3F9D113E-DB39-0CF2-578D-9B5D35C92F55}"/>
              </a:ext>
            </a:extLst>
          </p:cNvPr>
          <p:cNvSpPr/>
          <p:nvPr userDrawn="1"/>
        </p:nvSpPr>
        <p:spPr bwMode="gray">
          <a:xfrm>
            <a:off x="7102258" y="0"/>
            <a:ext cx="5092917" cy="6858000"/>
          </a:xfrm>
          <a:prstGeom prst="rect">
            <a:avLst/>
          </a:prstGeom>
          <a:solidFill>
            <a:srgbClr val="89D1FF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DD06AF2-2141-CEFD-4797-A6E50CC267FE}"/>
              </a:ext>
            </a:extLst>
          </p:cNvPr>
          <p:cNvSpPr/>
          <p:nvPr userDrawn="1"/>
        </p:nvSpPr>
        <p:spPr bwMode="gray">
          <a:xfrm>
            <a:off x="1" y="0"/>
            <a:ext cx="7226300" cy="6858000"/>
          </a:xfrm>
          <a:prstGeom prst="rect">
            <a:avLst/>
          </a:prstGeom>
          <a:solidFill>
            <a:srgbClr val="D1EFFF"/>
          </a:solidFill>
          <a:ln w="1342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633305" cy="997196"/>
          </a:xfrm>
        </p:spPr>
        <p:txBody>
          <a:bodyPr vert="horz" anchor="b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82996304" name="LogoWhite-Dynamic" descr="{&quot;templafy&quot;:{&quot;id&quot;:&quot;a0444597-b454-4b66-be2a-62ce43b21692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8" name="Classification-Dynamic" descr="{&quot;templafy&quot;:{&quot;id&quot;:&quot;a16dfd42-0de3-46c7-a276-e906e46a8fb7&quot;}}">
            <a:extLst>
              <a:ext uri="{FF2B5EF4-FFF2-40B4-BE49-F238E27FC236}">
                <a16:creationId xmlns:a16="http://schemas.microsoft.com/office/drawing/2014/main" id="{F1333C1B-AD40-D53A-5A1E-EFB8C6390D4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77845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41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7615" y="48315"/>
            <a:ext cx="3104008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1798133" y="2085631"/>
            <a:ext cx="8659529" cy="369332"/>
            <a:chOff x="1797664" y="2085631"/>
            <a:chExt cx="8657274" cy="369332"/>
          </a:xfrm>
        </p:grpSpPr>
        <p:sp>
          <p:nvSpPr>
            <p:cNvPr id="20" name="Textbox" hidden="1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/>
                <a:t>&lt;TEXT&gt;</a:t>
              </a:r>
            </a:p>
          </p:txBody>
        </p:sp>
        <p:sp>
          <p:nvSpPr>
            <p:cNvPr id="21" name="Textbox" hidden="1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/>
                <a:t>&lt;N&gt;</a:t>
              </a:r>
            </a:p>
          </p:txBody>
        </p:sp>
        <p:sp>
          <p:nvSpPr>
            <p:cNvPr id="22" name="Textbox" hidden="1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/>
                <a:t>&lt;P&gt;</a:t>
              </a:r>
            </a:p>
          </p:txBody>
        </p:sp>
        <p:sp>
          <p:nvSpPr>
            <p:cNvPr id="24" name="Textbox" hidden="1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TIMESLOT&gt;</a:t>
              </a:r>
            </a:p>
          </p:txBody>
        </p:sp>
        <p:sp>
          <p:nvSpPr>
            <p:cNvPr id="28" name="Textbox" hidden="1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RESPONSIBLE&gt;</a:t>
              </a:r>
            </a:p>
          </p:txBody>
        </p:sp>
        <p:sp>
          <p:nvSpPr>
            <p:cNvPr id="29" name="Textbox" hidden="1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1798132" y="2616963"/>
            <a:ext cx="8659528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 hidden="1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/>
                <a:t>&lt;TEXT&gt;</a:t>
              </a:r>
            </a:p>
          </p:txBody>
        </p:sp>
        <p:sp>
          <p:nvSpPr>
            <p:cNvPr id="33" name="Textbox" hidden="1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/>
                <a:t>&lt;N&gt;</a:t>
              </a:r>
            </a:p>
          </p:txBody>
        </p:sp>
        <p:sp>
          <p:nvSpPr>
            <p:cNvPr id="34" name="Textbox" hidden="1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/>
                <a:t>&lt;P&gt;</a:t>
              </a:r>
            </a:p>
          </p:txBody>
        </p:sp>
        <p:sp>
          <p:nvSpPr>
            <p:cNvPr id="35" name="Textbox" hidden="1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TIMESLOT&gt;</a:t>
              </a:r>
            </a:p>
          </p:txBody>
        </p:sp>
        <p:sp>
          <p:nvSpPr>
            <p:cNvPr id="36" name="Textbox" hidden="1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RESPONSIBLE&gt;</a:t>
              </a:r>
            </a:p>
          </p:txBody>
        </p:sp>
        <p:sp>
          <p:nvSpPr>
            <p:cNvPr id="37" name="Textbox" hidden="1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2266395" y="3148295"/>
            <a:ext cx="8191268" cy="369332"/>
            <a:chOff x="2265804" y="3155687"/>
            <a:chExt cx="8189134" cy="369332"/>
          </a:xfrm>
        </p:grpSpPr>
        <p:sp>
          <p:nvSpPr>
            <p:cNvPr id="39" name="Textbox" hidden="1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/>
                <a:t>&lt;TEXT&gt;</a:t>
              </a:r>
            </a:p>
          </p:txBody>
        </p:sp>
        <p:sp>
          <p:nvSpPr>
            <p:cNvPr id="40" name="Textbox" hidden="1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/>
                <a:t>&lt;N&gt;</a:t>
              </a:r>
            </a:p>
          </p:txBody>
        </p:sp>
        <p:sp>
          <p:nvSpPr>
            <p:cNvPr id="41" name="Textbox" hidden="1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/>
                <a:t>&lt;P&gt;</a:t>
              </a:r>
            </a:p>
          </p:txBody>
        </p:sp>
        <p:sp>
          <p:nvSpPr>
            <p:cNvPr id="42" name="Textbox" hidden="1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TIMESLOT&gt;</a:t>
              </a:r>
            </a:p>
          </p:txBody>
        </p:sp>
        <p:sp>
          <p:nvSpPr>
            <p:cNvPr id="43" name="Textbox" hidden="1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RESPONSIBLE&gt;</a:t>
              </a:r>
            </a:p>
          </p:txBody>
        </p:sp>
        <p:sp>
          <p:nvSpPr>
            <p:cNvPr id="44" name="Textbox" hidden="1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2266394" y="3679627"/>
            <a:ext cx="8191267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 hidden="1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/>
                <a:t>&lt;TEXT&gt;</a:t>
              </a:r>
            </a:p>
          </p:txBody>
        </p:sp>
        <p:sp>
          <p:nvSpPr>
            <p:cNvPr id="47" name="Textbox" hidden="1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/>
                <a:t>&lt;N&gt;</a:t>
              </a:r>
            </a:p>
          </p:txBody>
        </p:sp>
        <p:sp>
          <p:nvSpPr>
            <p:cNvPr id="48" name="Textbox" hidden="1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/>
                <a:t>&lt;P&gt;</a:t>
              </a:r>
            </a:p>
          </p:txBody>
        </p:sp>
        <p:sp>
          <p:nvSpPr>
            <p:cNvPr id="49" name="Textbox" hidden="1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TIMESLOT&gt;</a:t>
              </a:r>
            </a:p>
          </p:txBody>
        </p:sp>
        <p:sp>
          <p:nvSpPr>
            <p:cNvPr id="50" name="Textbox" hidden="1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RESPONSIBLE&gt;</a:t>
              </a:r>
            </a:p>
          </p:txBody>
        </p:sp>
        <p:sp>
          <p:nvSpPr>
            <p:cNvPr id="51" name="Textbox" hidden="1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DURATION&gt;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E400D9E-F8C6-0BA2-F4F4-397DAB7EC3E3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/>
          <a:p>
            <a:r>
              <a:rPr lang="en-US"/>
              <a:t>Agenda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04758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1285096" y="4096092"/>
            <a:ext cx="10082625" cy="369332"/>
            <a:chOff x="1797664" y="2085631"/>
            <a:chExt cx="5940745" cy="369332"/>
          </a:xfrm>
        </p:grpSpPr>
        <p:sp>
          <p:nvSpPr>
            <p:cNvPr id="72" name="Textbox" hidden="1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 hidden="1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 hidden="1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extbox" hidden="1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Textbox" hidden="1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Textbox" hidden="1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7615" y="48315"/>
            <a:ext cx="3104008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SlideProof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1285096" y="4096092"/>
            <a:ext cx="10082625" cy="369332"/>
            <a:chOff x="1797664" y="2085631"/>
            <a:chExt cx="5940745" cy="369332"/>
          </a:xfrm>
        </p:grpSpPr>
        <p:sp>
          <p:nvSpPr>
            <p:cNvPr id="79" name="Textbox" hidden="1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 hidden="1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 hidden="1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extbox" hidden="1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Textbox" hidden="1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Textbox" hidden="1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49781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38941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48768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08A9BCBC-5BBF-4E5D-89CA-FE1F19EA8A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0" y="0"/>
            <a:ext cx="12195175" cy="3426192"/>
          </a:xfrm>
          <a:blipFill>
            <a:blip r:embed="rId2"/>
            <a:stretch>
              <a:fillRect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E079EBE-5B45-4D74-948C-D1D11FEF557D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5FD9E93-11C1-45CE-8416-3F93AF600702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F75A8FAA-9235-4B84-941E-D3A4C0BE5AE6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DF0A577D-9F60-4D0E-90A8-4AFDCBD96125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DD5B9740-4DFB-415E-8AEA-5FD72AC9461B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7FFCF61-298C-46D7-B8BB-9071D9772841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988A5B33-61D6-4D35-B71E-88EA3E7D7E4C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132B27F8-C98D-48C3-8E7C-F035285A797D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63E277F-BA7E-449B-AAD2-42FFD9285B51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10AF24F2-915C-4D6B-8603-D0E26B3EDD25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7B7F9CF-819C-4408-8888-6A62F83613D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8681487-421E-4004-B0B3-EDF47FBAE50D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1E9BD7D-FC3F-4ABC-BED4-5A6C1734ED84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6F9ED06-E641-427C-BF75-49A8D98FAA37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B92A2C6-A006-4403-AC2B-8FC08BBBB5AA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7FB07D9-8BC9-4646-8ACE-F1DF9A358E8A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335A4D1-FAD4-42F4-8690-0A4BC50752B2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1F5602E7-0D57-408B-8887-D4ECDBAC725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B572EB7-8481-4875-888F-4BB5BAB66111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1CF7AD-BB0A-4249-BE2F-1FDA11C28A17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49B71A3-946F-4DF8-A274-D3A4742EEF2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69591E3-FE9B-465F-AF66-A448C07BC7C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4B34E60-AE54-40D4-8FD1-3C5BFB40914F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3983A70-F7D0-4A46-9D9B-DDBA484C1C7B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2D6E9E4-0D41-45F2-A016-9152BDF7C892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71903A4-38C1-4CA6-8116-0E4F9A22C59B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21D383C-F340-4297-B534-8292E3676CC3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7F065F3-96CB-4A78-B8AB-3A3E361041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74C32EF-9A08-4922-BA16-6697195F4B2E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A41817D-367D-49E4-B1B6-F0C4484F8C05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C86C19D-B47E-4897-A534-5B98C4EA5F12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3" name="Copyright">
            <a:extLst>
              <a:ext uri="{FF2B5EF4-FFF2-40B4-BE49-F238E27FC236}">
                <a16:creationId xmlns:a16="http://schemas.microsoft.com/office/drawing/2014/main" id="{2AEA8751-7E7D-BF3B-C313-895910482AE6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085061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29797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39624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60BF1E3-5E80-4E3D-89D0-11687B6A8B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2776931-9B24-4679-A8BF-E1DD468CFBBF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EBE19C6-6706-4020-B807-54DF3ECF59FF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EE6E02C-9703-4824-8AA3-3CDBD4EC1718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8ABA6316-B48F-49DF-9A22-68C01666886D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FB1072FC-C2DD-4CD6-A63E-4E988CA996CF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2F424D9-AA02-4F74-9334-8D9AE6326055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23AB0E59-745E-49F7-830C-18ABF7E8F2D0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3D366C3A-6234-4E44-AEE6-98D2B1805FF4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7CA781DA-1130-4DB6-9EDE-A935D4655B6D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52B81FC3-CEE5-414B-9FD4-5B10D1C7C883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EBB6538-5256-4320-A156-EB0FD69E2C7D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23CB3F74-BF5D-4A31-AA8F-CBAA2C1C8422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C5743329-6B34-4632-ABF7-633108E797AD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E38E3172-509D-423A-B643-494B27163B1F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AFD6F84-8D68-4CCC-AFCA-14B99E1A394B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9ACF6AD2-4F54-4458-87B5-0B0DA1AB747F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0E7816D-EC14-4AE4-9A23-8F76EF6F7AFE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1A9EF7C5-3CC1-468E-A192-C1183161607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B2CE8FE-562E-47BB-9FD8-BDDBE0121EC0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2EC50C4-8D1E-4589-BEC1-7AAD3788D3C4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D7010A8-A119-48ED-8D99-169FE3746E6B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EF9646EA-3B06-42B6-AC84-ABA5D60C6BBB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43379E8-0C40-4B7C-A445-ABE9A9FDFFAE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97B98FE3-4223-45D8-82FA-F2930D94F5DA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0A6FD3C-7310-47DD-B5B5-A1CCF815651F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50A72BCC-ECFC-4333-9707-B888359228D4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6F84EDA-7592-4EC6-BAB5-FC62B3471BD6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70A624A-EF1A-4617-BDA0-2ACE1038D0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77C9026-EBF0-4535-8114-4522D7E78EB2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CB68E85B-C7A0-4A3F-8E11-6353516F93B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0DEBCE2-1A3B-4A23-AAAA-A3048CA6223B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2" name="Copyright">
            <a:extLst>
              <a:ext uri="{FF2B5EF4-FFF2-40B4-BE49-F238E27FC236}">
                <a16:creationId xmlns:a16="http://schemas.microsoft.com/office/drawing/2014/main" id="{4975883C-2821-5D8E-A704-63EE6A5BDAA3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679581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84352" y="1435100"/>
            <a:ext cx="11021707" cy="16127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515082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543" y="1434370"/>
            <a:ext cx="11021389" cy="1612749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407467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8">
            <a:extLst>
              <a:ext uri="{FF2B5EF4-FFF2-40B4-BE49-F238E27FC236}">
                <a16:creationId xmlns:a16="http://schemas.microsoft.com/office/drawing/2014/main" id="{626282E5-6B7A-401D-BB1C-7F027256E9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58731" y="-203200"/>
            <a:ext cx="578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ELT lay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84353" y="1435100"/>
            <a:ext cx="5213120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391352" y="1435100"/>
            <a:ext cx="5221059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7502610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416" y="457200"/>
            <a:ext cx="11021389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2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398837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414118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032551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84353" y="457200"/>
            <a:ext cx="5509853" cy="372410"/>
          </a:xfrm>
        </p:spPr>
        <p:txBody>
          <a:bodyPr tIns="64008"/>
          <a:lstStyle>
            <a:lvl1pPr>
              <a:defRPr sz="2000" spc="0">
                <a:latin typeface="72 Bold" panose="020B0803030000000003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5974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cover with image in anvil shape">
    <p:bg>
      <p:bgPr>
        <a:solidFill>
          <a:srgbClr val="97DD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CF15634C-E3A9-CDE6-5F8E-35B41DFE2B5D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D1EFFF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29E6C33-847C-5792-E2BD-5963C662E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5529704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D2BFABF1-DD81-F2D4-FD65-DBCD663602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69496" y="2029240"/>
            <a:ext cx="5711687" cy="2828844"/>
          </a:xfrm>
          <a:custGeom>
            <a:avLst/>
            <a:gdLst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5453062 w 5453062"/>
              <a:gd name="connsiteY2" fmla="*/ 2700337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  <a:gd name="connsiteX0" fmla="*/ 0 w 5453062"/>
              <a:gd name="connsiteY0" fmla="*/ 0 h 2758526"/>
              <a:gd name="connsiteX1" fmla="*/ 5453062 w 5453062"/>
              <a:gd name="connsiteY1" fmla="*/ 0 h 2758526"/>
              <a:gd name="connsiteX2" fmla="*/ 2751426 w 5453062"/>
              <a:gd name="connsiteY2" fmla="*/ 2758526 h 2758526"/>
              <a:gd name="connsiteX3" fmla="*/ 0 w 5453062"/>
              <a:gd name="connsiteY3" fmla="*/ 2700337 h 2758526"/>
              <a:gd name="connsiteX4" fmla="*/ 0 w 5453062"/>
              <a:gd name="connsiteY4" fmla="*/ 0 h 2758526"/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2726487 w 5453062"/>
              <a:gd name="connsiteY2" fmla="*/ 2700336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3062" h="2700337">
                <a:moveTo>
                  <a:pt x="0" y="0"/>
                </a:moveTo>
                <a:lnTo>
                  <a:pt x="5453062" y="0"/>
                </a:lnTo>
                <a:lnTo>
                  <a:pt x="2726487" y="2700336"/>
                </a:lnTo>
                <a:lnTo>
                  <a:pt x="0" y="2700337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        Click to add image</a:t>
            </a:r>
          </a:p>
        </p:txBody>
      </p:sp>
      <p:sp>
        <p:nvSpPr>
          <p:cNvPr id="4" name="Classification-Dynamic" descr="{&quot;templafy&quot;:{&quot;id&quot;:&quot;aa57b900-42ee-45e2-901d-a9c467b9898a&quot;}}">
            <a:extLst>
              <a:ext uri="{FF2B5EF4-FFF2-40B4-BE49-F238E27FC236}">
                <a16:creationId xmlns:a16="http://schemas.microsoft.com/office/drawing/2014/main" id="{13EDB9F6-FBDA-8ED8-A84B-244CC53CFF9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  <p:pic>
        <p:nvPicPr>
          <p:cNvPr id="866333957" name="LogoBlack-Dynamic" descr="{&quot;templafy&quot;:{&quot;id&quot;:&quot;690c104f-7e65-48cd-94b6-5b4d27d0d6fb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997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016203"/>
            <a:ext cx="4159445" cy="110799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3" y="3535540"/>
            <a:ext cx="4163509" cy="338554"/>
          </a:xfrm>
        </p:spPr>
        <p:txBody>
          <a:bodyPr/>
          <a:lstStyle>
            <a:lvl1pPr marL="0" indent="0">
              <a:buNone/>
              <a:defRPr sz="2200">
                <a:latin typeface="72 Brand" panose="020B0504030603020204" pitchFamily="34" charset="0"/>
                <a:cs typeface="Arial" panose="020B0604020202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63D4830-906E-4A43-9D2A-52DD3EC5546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FAD7FA30-0519-4AAE-B091-0E3F15AE3998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581106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873415"/>
            <a:ext cx="4161033" cy="1107996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B0212E1-7C82-4FC0-B5BE-AE8FFF174F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894A1B2-C9F3-419A-BFFA-1C2873A500FB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740592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124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27504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96051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71364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4464359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8709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/>
          <p:cNvSpPr>
            <a:spLocks noGrp="1"/>
          </p:cNvSpPr>
          <p:nvPr>
            <p:ph type="body" sz="quarter" idx="10"/>
          </p:nvPr>
        </p:nvSpPr>
        <p:spPr>
          <a:xfrm>
            <a:off x="588416" y="1436689"/>
            <a:ext cx="11021389" cy="190821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5927154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act information">
            <a:extLst>
              <a:ext uri="{FF2B5EF4-FFF2-40B4-BE49-F238E27FC236}">
                <a16:creationId xmlns:a16="http://schemas.microsoft.com/office/drawing/2014/main" id="{7113F415-65C4-4ED8-81EB-71635591D4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352" y="2905487"/>
            <a:ext cx="5514824" cy="250101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</p:txBody>
      </p:sp>
      <p:sp>
        <p:nvSpPr>
          <p:cNvPr id="8" name="Thank you">
            <a:extLst>
              <a:ext uri="{FF2B5EF4-FFF2-40B4-BE49-F238E27FC236}">
                <a16:creationId xmlns:a16="http://schemas.microsoft.com/office/drawing/2014/main" id="{72621CA0-04F6-4A2B-9513-2947683469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352" y="1765299"/>
            <a:ext cx="5514824" cy="631660"/>
          </a:xfrm>
        </p:spPr>
        <p:txBody>
          <a:bodyPr anchor="t" anchorCtr="0">
            <a:noAutofit/>
          </a:bodyPr>
          <a:lstStyle>
            <a:lvl1pPr>
              <a:defRPr sz="36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56BF64F-D8F7-49F6-8ED0-542D942CDC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sp>
        <p:nvSpPr>
          <p:cNvPr id="6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2104F1F6-DC9C-4268-A890-004FD02FCB52}"/>
              </a:ext>
            </a:extLst>
          </p:cNvPr>
          <p:cNvSpPr txBox="1">
            <a:spLocks/>
          </p:cNvSpPr>
          <p:nvPr userDrawn="1"/>
        </p:nvSpPr>
        <p:spPr>
          <a:xfrm>
            <a:off x="585019" y="6536751"/>
            <a:ext cx="10158245" cy="1384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0070F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13812770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F6B4F408-95BC-730E-4114-45641ED46491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600" b="0" i="0" dirty="0">
                <a:latin typeface="72 Brand Medium" panose="020B05040306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12195175" cy="3430800"/>
          </a:xfrm>
        </p:spPr>
        <p:txBody>
          <a:bodyPr anchor="ctr" anchorCtr="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pic>
        <p:nvPicPr>
          <p:cNvPr id="1675361044" name="LogoBlue-Dynamic" descr="{&quot;templafy&quot;:{&quot;id&quot;:&quot;9dd02216-58b9-48cc-95b4-a4fb4fb97416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6218600"/>
            <a:ext cx="727192" cy="360000"/>
          </a:xfrm>
          <a:prstGeom prst="rect">
            <a:avLst/>
          </a:prstGeom>
        </p:spPr>
      </p:pic>
      <p:sp>
        <p:nvSpPr>
          <p:cNvPr id="9" name="Classification-Dynamic" descr="{&quot;templafy&quot;:{&quot;id&quot;:&quot;17904262-8e98-4143-ba28-5ffff2b9dc57&quot;}}">
            <a:extLst>
              <a:ext uri="{FF2B5EF4-FFF2-40B4-BE49-F238E27FC236}">
                <a16:creationId xmlns:a16="http://schemas.microsoft.com/office/drawing/2014/main" id="{CE0C2033-6FDF-7DD6-E25C-C03296FDAD00}"/>
              </a:ext>
            </a:extLst>
          </p:cNvPr>
          <p:cNvSpPr txBox="1"/>
          <p:nvPr userDrawn="1"/>
        </p:nvSpPr>
        <p:spPr>
          <a:xfrm>
            <a:off x="282575" y="5724000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1838505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white">
          <a:xfrm>
            <a:off x="584352" y="1436689"/>
            <a:ext cx="11021707" cy="2215991"/>
          </a:xfrm>
        </p:spPr>
        <p:txBody>
          <a:bodyPr/>
          <a:lstStyle>
            <a:lvl1pPr>
              <a:defRPr sz="3600">
                <a:latin typeface="72" panose="020B0503030000000003" pitchFamily="34" charset="0"/>
                <a:cs typeface="72" panose="020B0503030000000003" pitchFamily="34" charset="0"/>
              </a:defRPr>
            </a:lvl1pPr>
            <a:lvl2pPr>
              <a:defRPr sz="2800">
                <a:latin typeface="72" panose="020B0503030000000003" pitchFamily="34" charset="0"/>
                <a:cs typeface="72" panose="020B0503030000000003" pitchFamily="34" charset="0"/>
              </a:defRPr>
            </a:lvl2pPr>
            <a:lvl3pPr>
              <a:defRPr sz="2400">
                <a:latin typeface="72" panose="020B0503030000000003" pitchFamily="34" charset="0"/>
                <a:cs typeface="72" panose="020B0503030000000003" pitchFamily="34" charset="0"/>
              </a:defRPr>
            </a:lvl3pPr>
            <a:lvl4pPr>
              <a:defRPr sz="2000">
                <a:latin typeface="72" panose="020B0503030000000003" pitchFamily="34" charset="0"/>
                <a:cs typeface="72" panose="020B0503030000000003" pitchFamily="34" charset="0"/>
              </a:defRPr>
            </a:lvl4pPr>
            <a:lvl5pPr>
              <a:defRPr sz="1800">
                <a:latin typeface="72" panose="020B0503030000000003" pitchFamily="34" charset="0"/>
                <a:cs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/>
          </p:nvPr>
        </p:nvSpPr>
        <p:spPr>
          <a:xfrm>
            <a:off x="2" y="6269039"/>
            <a:ext cx="12195176" cy="588963"/>
          </a:xfrm>
          <a:prstGeom prst="rect">
            <a:avLst/>
          </a:prstGeom>
          <a:solidFill>
            <a:srgbClr val="FFFF99"/>
          </a:solidFill>
        </p:spPr>
        <p:txBody>
          <a:bodyPr lIns="155457" tIns="77729" rIns="155457" bIns="45720" anchor="b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71544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38941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48768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08A9BCBC-5BBF-4E5D-89CA-FE1F19EA8A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0" y="0"/>
            <a:ext cx="12195175" cy="3426192"/>
          </a:xfrm>
          <a:blipFill>
            <a:blip r:embed="rId2"/>
            <a:stretch>
              <a:fillRect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E079EBE-5B45-4D74-948C-D1D11FEF557D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5FD9E93-11C1-45CE-8416-3F93AF600702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F75A8FAA-9235-4B84-941E-D3A4C0BE5AE6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DF0A577D-9F60-4D0E-90A8-4AFDCBD96125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DD5B9740-4DFB-415E-8AEA-5FD72AC9461B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7FFCF61-298C-46D7-B8BB-9071D9772841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988A5B33-61D6-4D35-B71E-88EA3E7D7E4C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132B27F8-C98D-48C3-8E7C-F035285A797D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63E277F-BA7E-449B-AAD2-42FFD9285B51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10AF24F2-915C-4D6B-8603-D0E26B3EDD25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7B7F9CF-819C-4408-8888-6A62F83613D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8681487-421E-4004-B0B3-EDF47FBAE50D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1E9BD7D-FC3F-4ABC-BED4-5A6C1734ED84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6F9ED06-E641-427C-BF75-49A8D98FAA37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B92A2C6-A006-4403-AC2B-8FC08BBBB5AA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7FB07D9-8BC9-4646-8ACE-F1DF9A358E8A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335A4D1-FAD4-42F4-8690-0A4BC50752B2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1F5602E7-0D57-408B-8887-D4ECDBAC725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B572EB7-8481-4875-888F-4BB5BAB66111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1CF7AD-BB0A-4249-BE2F-1FDA11C28A17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49B71A3-946F-4DF8-A274-D3A4742EEF2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69591E3-FE9B-465F-AF66-A448C07BC7C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4B34E60-AE54-40D4-8FD1-3C5BFB40914F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3983A70-F7D0-4A46-9D9B-DDBA484C1C7B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2D6E9E4-0D41-45F2-A016-9152BDF7C892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71903A4-38C1-4CA6-8116-0E4F9A22C59B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21D383C-F340-4297-B534-8292E3676CC3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7F065F3-96CB-4A78-B8AB-3A3E361041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74C32EF-9A08-4922-BA16-6697195F4B2E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A41817D-367D-49E4-B1B6-F0C4484F8C05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C86C19D-B47E-4897-A534-5B98C4EA5F12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3" name="Copyright">
            <a:extLst>
              <a:ext uri="{FF2B5EF4-FFF2-40B4-BE49-F238E27FC236}">
                <a16:creationId xmlns:a16="http://schemas.microsoft.com/office/drawing/2014/main" id="{2AEA8751-7E7D-BF3B-C313-895910482AE6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9815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29797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39624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60BF1E3-5E80-4E3D-89D0-11687B6A8B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2776931-9B24-4679-A8BF-E1DD468CFBBF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EBE19C6-6706-4020-B807-54DF3ECF59FF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EE6E02C-9703-4824-8AA3-3CDBD4EC1718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8ABA6316-B48F-49DF-9A22-68C01666886D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FB1072FC-C2DD-4CD6-A63E-4E988CA996CF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2F424D9-AA02-4F74-9334-8D9AE6326055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23AB0E59-745E-49F7-830C-18ABF7E8F2D0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3D366C3A-6234-4E44-AEE6-98D2B1805FF4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7CA781DA-1130-4DB6-9EDE-A935D4655B6D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52B81FC3-CEE5-414B-9FD4-5B10D1C7C883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EBB6538-5256-4320-A156-EB0FD69E2C7D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23CB3F74-BF5D-4A31-AA8F-CBAA2C1C8422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C5743329-6B34-4632-ABF7-633108E797AD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E38E3172-509D-423A-B643-494B27163B1F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AFD6F84-8D68-4CCC-AFCA-14B99E1A394B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9ACF6AD2-4F54-4458-87B5-0B0DA1AB747F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0E7816D-EC14-4AE4-9A23-8F76EF6F7AFE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1A9EF7C5-3CC1-468E-A192-C1183161607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B2CE8FE-562E-47BB-9FD8-BDDBE0121EC0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2EC50C4-8D1E-4589-BEC1-7AAD3788D3C4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D7010A8-A119-48ED-8D99-169FE3746E6B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EF9646EA-3B06-42B6-AC84-ABA5D60C6BBB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43379E8-0C40-4B7C-A445-ABE9A9FDFFAE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97B98FE3-4223-45D8-82FA-F2930D94F5DA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0A6FD3C-7310-47DD-B5B5-A1CCF815651F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50A72BCC-ECFC-4333-9707-B888359228D4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6F84EDA-7592-4EC6-BAB5-FC62B3471BD6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70A624A-EF1A-4617-BDA0-2ACE1038D0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77C9026-EBF0-4535-8114-4522D7E78EB2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CB68E85B-C7A0-4A3F-8E11-6353516F93B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0DEBCE2-1A3B-4A23-AAAA-A3048CA6223B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2" name="Copyright">
            <a:extLst>
              <a:ext uri="{FF2B5EF4-FFF2-40B4-BE49-F238E27FC236}">
                <a16:creationId xmlns:a16="http://schemas.microsoft.com/office/drawing/2014/main" id="{4975883C-2821-5D8E-A704-63EE6A5BDAA3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283203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84352" y="1435100"/>
            <a:ext cx="11021707" cy="16127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6247613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543" y="1434370"/>
            <a:ext cx="11021389" cy="1612749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348318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8">
            <a:extLst>
              <a:ext uri="{FF2B5EF4-FFF2-40B4-BE49-F238E27FC236}">
                <a16:creationId xmlns:a16="http://schemas.microsoft.com/office/drawing/2014/main" id="{626282E5-6B7A-401D-BB1C-7F027256E9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58731" y="-203200"/>
            <a:ext cx="578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ELT lay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84353" y="1435100"/>
            <a:ext cx="5213120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391352" y="1435100"/>
            <a:ext cx="5221059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00382182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416" y="457200"/>
            <a:ext cx="11021389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2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398837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1919890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9744301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84353" y="457200"/>
            <a:ext cx="5509853" cy="372410"/>
          </a:xfrm>
        </p:spPr>
        <p:txBody>
          <a:bodyPr tIns="64008"/>
          <a:lstStyle>
            <a:lvl1pPr>
              <a:defRPr sz="2000" spc="0">
                <a:latin typeface="72 Bold" panose="020B0803030000000003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79881269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016203"/>
            <a:ext cx="4159445" cy="110799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3" y="3535540"/>
            <a:ext cx="4163509" cy="338554"/>
          </a:xfrm>
        </p:spPr>
        <p:txBody>
          <a:bodyPr/>
          <a:lstStyle>
            <a:lvl1pPr marL="0" indent="0">
              <a:buNone/>
              <a:defRPr sz="2200">
                <a:latin typeface="72 Brand" panose="020B0504030603020204" pitchFamily="34" charset="0"/>
                <a:cs typeface="Arial" panose="020B0604020202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63D4830-906E-4A43-9D2A-52DD3EC5546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FAD7FA30-0519-4AAE-B091-0E3F15AE3998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945233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green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615A14AB-7A75-B899-CDA1-E311E201A837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Anvil" descr="preencoded.png">
            <a:extLst>
              <a:ext uri="{FF2B5EF4-FFF2-40B4-BE49-F238E27FC236}">
                <a16:creationId xmlns:a16="http://schemas.microsoft.com/office/drawing/2014/main" id="{CAD3135A-95A0-606F-5A25-35CF890B232D}"/>
              </a:ext>
            </a:extLst>
          </p:cNvPr>
          <p:cNvSpPr/>
          <p:nvPr/>
        </p:nvSpPr>
        <p:spPr>
          <a:xfrm>
            <a:off x="5072441" y="1275473"/>
            <a:ext cx="6069341" cy="2991727"/>
          </a:xfrm>
          <a:custGeom>
            <a:avLst/>
            <a:gdLst>
              <a:gd name="connsiteX0" fmla="*/ 0 w 6069341"/>
              <a:gd name="connsiteY0" fmla="*/ 0 h 2991727"/>
              <a:gd name="connsiteX1" fmla="*/ 0 w 6069341"/>
              <a:gd name="connsiteY1" fmla="*/ 2991727 h 2991727"/>
              <a:gd name="connsiteX2" fmla="*/ 3084421 w 6069341"/>
              <a:gd name="connsiteY2" fmla="*/ 2991727 h 2991727"/>
              <a:gd name="connsiteX3" fmla="*/ 6069341 w 6069341"/>
              <a:gd name="connsiteY3" fmla="*/ 0 h 2991727"/>
              <a:gd name="connsiteX4" fmla="*/ 0 w 6069341"/>
              <a:gd name="connsiteY4" fmla="*/ 0 h 2991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9341" h="2991727">
                <a:moveTo>
                  <a:pt x="0" y="0"/>
                </a:moveTo>
                <a:lnTo>
                  <a:pt x="0" y="2991727"/>
                </a:lnTo>
                <a:lnTo>
                  <a:pt x="3084421" y="2991727"/>
                </a:lnTo>
                <a:lnTo>
                  <a:pt x="6069341" y="0"/>
                </a:lnTo>
                <a:lnTo>
                  <a:pt x="0" y="0"/>
                </a:lnTo>
                <a:close/>
              </a:path>
            </a:pathLst>
          </a:custGeom>
          <a:solidFill>
            <a:srgbClr val="0070F2"/>
          </a:solidFill>
          <a:ln w="7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5658676" name="LogoBlue-Dynamic" descr="{&quot;templafy&quot;:{&quot;id&quot;:&quot;24dda641-0340-42fc-b199-54e3bbe1e6c5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11" name="Classification-Dynamic" descr="{&quot;templafy&quot;:{&quot;id&quot;:&quot;99d85a1f-5caa-4f35-b7df-eb9703c96eda&quot;}}">
            <a:extLst>
              <a:ext uri="{FF2B5EF4-FFF2-40B4-BE49-F238E27FC236}">
                <a16:creationId xmlns:a16="http://schemas.microsoft.com/office/drawing/2014/main" id="{62D91ACB-BD14-46CB-4B61-F4B072D877C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5547614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873415"/>
            <a:ext cx="4161033" cy="1107996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B0212E1-7C82-4FC0-B5BE-AE8FFF174F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894A1B2-C9F3-419A-BFFA-1C2873A500FB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4344728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8386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23833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44676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22898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152289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82144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/>
          <p:cNvSpPr>
            <a:spLocks noGrp="1"/>
          </p:cNvSpPr>
          <p:nvPr>
            <p:ph type="body" sz="quarter" idx="10"/>
          </p:nvPr>
        </p:nvSpPr>
        <p:spPr>
          <a:xfrm>
            <a:off x="588416" y="1436689"/>
            <a:ext cx="11021389" cy="190821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36726152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act information">
            <a:extLst>
              <a:ext uri="{FF2B5EF4-FFF2-40B4-BE49-F238E27FC236}">
                <a16:creationId xmlns:a16="http://schemas.microsoft.com/office/drawing/2014/main" id="{7113F415-65C4-4ED8-81EB-71635591D4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352" y="2905487"/>
            <a:ext cx="5514824" cy="250101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</p:txBody>
      </p:sp>
      <p:sp>
        <p:nvSpPr>
          <p:cNvPr id="8" name="Thank you">
            <a:extLst>
              <a:ext uri="{FF2B5EF4-FFF2-40B4-BE49-F238E27FC236}">
                <a16:creationId xmlns:a16="http://schemas.microsoft.com/office/drawing/2014/main" id="{72621CA0-04F6-4A2B-9513-2947683469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352" y="1765299"/>
            <a:ext cx="5514824" cy="631660"/>
          </a:xfrm>
        </p:spPr>
        <p:txBody>
          <a:bodyPr anchor="t" anchorCtr="0">
            <a:noAutofit/>
          </a:bodyPr>
          <a:lstStyle>
            <a:lvl1pPr>
              <a:defRPr sz="36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56BF64F-D8F7-49F6-8ED0-542D942CDC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sp>
        <p:nvSpPr>
          <p:cNvPr id="6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2104F1F6-DC9C-4268-A890-004FD02FCB52}"/>
              </a:ext>
            </a:extLst>
          </p:cNvPr>
          <p:cNvSpPr txBox="1">
            <a:spLocks/>
          </p:cNvSpPr>
          <p:nvPr userDrawn="1"/>
        </p:nvSpPr>
        <p:spPr>
          <a:xfrm>
            <a:off x="585019" y="6536751"/>
            <a:ext cx="10158245" cy="1384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0070F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35153216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white">
          <a:xfrm>
            <a:off x="584352" y="1436689"/>
            <a:ext cx="11021707" cy="2215991"/>
          </a:xfrm>
        </p:spPr>
        <p:txBody>
          <a:bodyPr/>
          <a:lstStyle>
            <a:lvl1pPr>
              <a:defRPr sz="3600">
                <a:latin typeface="72" panose="020B0503030000000003" pitchFamily="34" charset="0"/>
                <a:cs typeface="72" panose="020B0503030000000003" pitchFamily="34" charset="0"/>
              </a:defRPr>
            </a:lvl1pPr>
            <a:lvl2pPr>
              <a:defRPr sz="2800">
                <a:latin typeface="72" panose="020B0503030000000003" pitchFamily="34" charset="0"/>
                <a:cs typeface="72" panose="020B0503030000000003" pitchFamily="34" charset="0"/>
              </a:defRPr>
            </a:lvl2pPr>
            <a:lvl3pPr>
              <a:defRPr sz="2400">
                <a:latin typeface="72" panose="020B0503030000000003" pitchFamily="34" charset="0"/>
                <a:cs typeface="72" panose="020B0503030000000003" pitchFamily="34" charset="0"/>
              </a:defRPr>
            </a:lvl3pPr>
            <a:lvl4pPr>
              <a:defRPr sz="2000">
                <a:latin typeface="72" panose="020B0503030000000003" pitchFamily="34" charset="0"/>
                <a:cs typeface="72" panose="020B0503030000000003" pitchFamily="34" charset="0"/>
              </a:defRPr>
            </a:lvl4pPr>
            <a:lvl5pPr>
              <a:defRPr sz="1800">
                <a:latin typeface="72" panose="020B0503030000000003" pitchFamily="34" charset="0"/>
                <a:cs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/>
          </p:nvPr>
        </p:nvSpPr>
        <p:spPr>
          <a:xfrm>
            <a:off x="2" y="6269039"/>
            <a:ext cx="12195176" cy="588963"/>
          </a:xfrm>
          <a:prstGeom prst="rect">
            <a:avLst/>
          </a:prstGeom>
          <a:solidFill>
            <a:srgbClr val="FFFF99"/>
          </a:solidFill>
        </p:spPr>
        <p:txBody>
          <a:bodyPr lIns="155457" tIns="77729" rIns="155457" bIns="45720" anchor="b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97208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581FAEF7-1ACD-83AC-7B42-761E6A30387F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A6E0FF">
              <a:alpha val="42715"/>
            </a:srgbClr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Anvil" descr="preencoded.png">
            <a:extLst>
              <a:ext uri="{FF2B5EF4-FFF2-40B4-BE49-F238E27FC236}">
                <a16:creationId xmlns:a16="http://schemas.microsoft.com/office/drawing/2014/main" id="{94093846-CC07-3993-CA62-86004F1C03F9}"/>
              </a:ext>
            </a:extLst>
          </p:cNvPr>
          <p:cNvSpPr/>
          <p:nvPr/>
        </p:nvSpPr>
        <p:spPr>
          <a:xfrm>
            <a:off x="2289865" y="1275473"/>
            <a:ext cx="8851917" cy="4363327"/>
          </a:xfrm>
          <a:custGeom>
            <a:avLst/>
            <a:gdLst>
              <a:gd name="connsiteX0" fmla="*/ 0 w 8851917"/>
              <a:gd name="connsiteY0" fmla="*/ 0 h 4363327"/>
              <a:gd name="connsiteX1" fmla="*/ 0 w 8851917"/>
              <a:gd name="connsiteY1" fmla="*/ 4363327 h 4363327"/>
              <a:gd name="connsiteX2" fmla="*/ 4498517 w 8851917"/>
              <a:gd name="connsiteY2" fmla="*/ 4363327 h 4363327"/>
              <a:gd name="connsiteX3" fmla="*/ 8851917 w 8851917"/>
              <a:gd name="connsiteY3" fmla="*/ 0 h 4363327"/>
              <a:gd name="connsiteX4" fmla="*/ 0 w 8851917"/>
              <a:gd name="connsiteY4" fmla="*/ 0 h 436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51917" h="4363327">
                <a:moveTo>
                  <a:pt x="0" y="0"/>
                </a:moveTo>
                <a:lnTo>
                  <a:pt x="0" y="4363327"/>
                </a:lnTo>
                <a:lnTo>
                  <a:pt x="4498517" y="4363327"/>
                </a:lnTo>
                <a:lnTo>
                  <a:pt x="8851917" y="0"/>
                </a:lnTo>
                <a:lnTo>
                  <a:pt x="0" y="0"/>
                </a:lnTo>
                <a:close/>
              </a:path>
            </a:pathLst>
          </a:custGeom>
          <a:solidFill>
            <a:srgbClr val="A6E0FF"/>
          </a:solidFill>
          <a:ln w="152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98B98B-8FDE-5B19-2FC7-97058A6B5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92992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990423110" name="LogoBlack-Dynamic" descr="{&quot;templafy&quot;:{&quot;id&quot;:&quot;787d00a1-4cac-4b81-b637-a99274574ec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ad4994d4-76c3-4624-9265-4ebe8c04ee95&quot;}}">
            <a:extLst>
              <a:ext uri="{FF2B5EF4-FFF2-40B4-BE49-F238E27FC236}">
                <a16:creationId xmlns:a16="http://schemas.microsoft.com/office/drawing/2014/main" id="{D417CEF6-1FCD-75B6-FA13-C583ECCE7BE5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315975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369E6551-269A-D225-4CF8-EC6D532E4902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441288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73D104-EF7E-A0AB-2243-882D65E686E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75363" y="0"/>
            <a:ext cx="6119812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1271884541" name="LogoBlue-Dynamic" descr="{&quot;templafy&quot;:{&quot;id&quot;:&quot;e1ff4155-3db1-4bbb-85a7-437eca614c8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6" name="Classification-Dynamic" descr="{&quot;templafy&quot;:{&quot;id&quot;:&quot;1400d254-c5b0-49a9-bbba-c97223cc9af9&quot;}}">
            <a:extLst>
              <a:ext uri="{FF2B5EF4-FFF2-40B4-BE49-F238E27FC236}">
                <a16:creationId xmlns:a16="http://schemas.microsoft.com/office/drawing/2014/main" id="{870EB466-B92B-9D4D-974E-A49C0F424152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871303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704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cover with anvil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67B704E-206C-83F1-209C-8AC5AA593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375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7B704E-206C-83F1-209C-8AC5AA593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37E79459-E5C5-5E87-E38B-80855D38E462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00144A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846E736-979F-0D4B-6D59-D0EA5D367E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0936" y="1216760"/>
            <a:ext cx="8887864" cy="4424483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79869855" name="LogoWhite-Dynamic" descr="{&quot;templafy&quot;:{&quot;id&quot;:&quot;f311321f-6dec-468e-bf1d-41970cf5b78d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7" name="Classification-Dynamic" descr="{&quot;templafy&quot;:{&quot;id&quot;:&quot;34991d23-440a-47c2-bb45-be4011253002&quot;}}">
            <a:extLst>
              <a:ext uri="{FF2B5EF4-FFF2-40B4-BE49-F238E27FC236}">
                <a16:creationId xmlns:a16="http://schemas.microsoft.com/office/drawing/2014/main" id="{1D05DC80-84C9-9ECA-3B84-3577D8D8165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1737073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ngo cover with anvil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7CC981-2E4E-11B1-C37B-1DDB5D3E5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06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CC981-2E4E-11B1-C37B-1DDB5D3E5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48">
            <a:extLst>
              <a:ext uri="{FF2B5EF4-FFF2-40B4-BE49-F238E27FC236}">
                <a16:creationId xmlns:a16="http://schemas.microsoft.com/office/drawing/2014/main" id="{3F9D113E-DB39-0CF2-578D-9B5D35C92F55}"/>
              </a:ext>
            </a:extLst>
          </p:cNvPr>
          <p:cNvSpPr/>
          <p:nvPr userDrawn="1"/>
        </p:nvSpPr>
        <p:spPr bwMode="gray">
          <a:xfrm>
            <a:off x="7102259" y="0"/>
            <a:ext cx="5092917" cy="6858000"/>
          </a:xfrm>
          <a:prstGeom prst="rect">
            <a:avLst/>
          </a:prstGeom>
          <a:solidFill>
            <a:srgbClr val="89D1FF"/>
          </a:solidFill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DD06AF2-2141-CEFD-4797-A6E50CC267FE}"/>
              </a:ext>
            </a:extLst>
          </p:cNvPr>
          <p:cNvSpPr/>
          <p:nvPr userDrawn="1"/>
        </p:nvSpPr>
        <p:spPr bwMode="gray">
          <a:xfrm>
            <a:off x="2" y="0"/>
            <a:ext cx="7226300" cy="6858000"/>
          </a:xfrm>
          <a:prstGeom prst="rect">
            <a:avLst/>
          </a:prstGeom>
          <a:solidFill>
            <a:srgbClr val="D1EFFF"/>
          </a:solidFill>
          <a:ln w="1342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633305" cy="997196"/>
          </a:xfrm>
        </p:spPr>
        <p:txBody>
          <a:bodyPr vert="horz" anchor="b" anchorCtr="0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82996304" name="LogoWhite-Dynamic" descr="{&quot;templafy&quot;:{&quot;id&quot;:&quot;a0444597-b454-4b66-be2a-62ce43b21692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8" name="Classification-Dynamic" descr="{&quot;templafy&quot;:{&quot;id&quot;:&quot;a16dfd42-0de3-46c7-a276-e906e46a8fb7&quot;}}">
            <a:extLst>
              <a:ext uri="{FF2B5EF4-FFF2-40B4-BE49-F238E27FC236}">
                <a16:creationId xmlns:a16="http://schemas.microsoft.com/office/drawing/2014/main" id="{F1333C1B-AD40-D53A-5A1E-EFB8C6390D4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3651709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cover with image in anvil shape">
    <p:bg>
      <p:bgPr>
        <a:solidFill>
          <a:srgbClr val="97DD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CF15634C-E3A9-CDE6-5F8E-35B41DFE2B5D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D1EFFF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29E6C33-847C-5792-E2BD-5963C662E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5529704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D2BFABF1-DD81-F2D4-FD65-DBCD663602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69496" y="2029240"/>
            <a:ext cx="5711687" cy="2828844"/>
          </a:xfrm>
          <a:custGeom>
            <a:avLst/>
            <a:gdLst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5453062 w 5453062"/>
              <a:gd name="connsiteY2" fmla="*/ 2700337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  <a:gd name="connsiteX0" fmla="*/ 0 w 5453062"/>
              <a:gd name="connsiteY0" fmla="*/ 0 h 2758526"/>
              <a:gd name="connsiteX1" fmla="*/ 5453062 w 5453062"/>
              <a:gd name="connsiteY1" fmla="*/ 0 h 2758526"/>
              <a:gd name="connsiteX2" fmla="*/ 2751426 w 5453062"/>
              <a:gd name="connsiteY2" fmla="*/ 2758526 h 2758526"/>
              <a:gd name="connsiteX3" fmla="*/ 0 w 5453062"/>
              <a:gd name="connsiteY3" fmla="*/ 2700337 h 2758526"/>
              <a:gd name="connsiteX4" fmla="*/ 0 w 5453062"/>
              <a:gd name="connsiteY4" fmla="*/ 0 h 2758526"/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2726487 w 5453062"/>
              <a:gd name="connsiteY2" fmla="*/ 2700336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3062" h="2700337">
                <a:moveTo>
                  <a:pt x="0" y="0"/>
                </a:moveTo>
                <a:lnTo>
                  <a:pt x="5453062" y="0"/>
                </a:lnTo>
                <a:lnTo>
                  <a:pt x="2726487" y="2700336"/>
                </a:lnTo>
                <a:lnTo>
                  <a:pt x="0" y="2700337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        Click to add image</a:t>
            </a:r>
          </a:p>
        </p:txBody>
      </p:sp>
      <p:sp>
        <p:nvSpPr>
          <p:cNvPr id="4" name="Classification-Dynamic" descr="{&quot;templafy&quot;:{&quot;id&quot;:&quot;aa57b900-42ee-45e2-901d-a9c467b9898a&quot;}}">
            <a:extLst>
              <a:ext uri="{FF2B5EF4-FFF2-40B4-BE49-F238E27FC236}">
                <a16:creationId xmlns:a16="http://schemas.microsoft.com/office/drawing/2014/main" id="{13EDB9F6-FBDA-8ED8-A84B-244CC53CFF9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  <p:pic>
        <p:nvPicPr>
          <p:cNvPr id="866333957" name="LogoBlack-Dynamic" descr="{&quot;templafy&quot;:{&quot;id&quot;:&quot;690c104f-7e65-48cd-94b6-5b4d27d0d6fb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179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F6B4F408-95BC-730E-4114-45641ED46491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599" b="0" i="0" dirty="0">
                <a:latin typeface="72 Brand Medium" panose="020B05040306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12195175" cy="3430800"/>
          </a:xfrm>
        </p:spPr>
        <p:txBody>
          <a:bodyPr anchor="ctr" anchorCtr="0"/>
          <a:lstStyle>
            <a:lvl1pPr marL="0" marR="0" indent="0" algn="ctr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lvl1pPr>
          </a:lstStyle>
          <a:p>
            <a:pPr marL="0" marR="0" lvl="0" indent="0" algn="ctr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pic>
        <p:nvPicPr>
          <p:cNvPr id="1675361044" name="LogoBlue-Dynamic" descr="{&quot;templafy&quot;:{&quot;id&quot;:&quot;9dd02216-58b9-48cc-95b4-a4fb4fb97416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6218600"/>
            <a:ext cx="727192" cy="360000"/>
          </a:xfrm>
          <a:prstGeom prst="rect">
            <a:avLst/>
          </a:prstGeom>
        </p:spPr>
      </p:pic>
      <p:sp>
        <p:nvSpPr>
          <p:cNvPr id="9" name="Classification-Dynamic" descr="{&quot;templafy&quot;:{&quot;id&quot;:&quot;17904262-8e98-4143-ba28-5ffff2b9dc57&quot;}}">
            <a:extLst>
              <a:ext uri="{FF2B5EF4-FFF2-40B4-BE49-F238E27FC236}">
                <a16:creationId xmlns:a16="http://schemas.microsoft.com/office/drawing/2014/main" id="{CE0C2033-6FDF-7DD6-E25C-C03296FDAD00}"/>
              </a:ext>
            </a:extLst>
          </p:cNvPr>
          <p:cNvSpPr txBox="1"/>
          <p:nvPr userDrawn="1"/>
        </p:nvSpPr>
        <p:spPr>
          <a:xfrm>
            <a:off x="282575" y="5724000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5879973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green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615A14AB-7A75-B899-CDA1-E311E201A837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Anvil" descr="preencoded.png">
            <a:extLst>
              <a:ext uri="{FF2B5EF4-FFF2-40B4-BE49-F238E27FC236}">
                <a16:creationId xmlns:a16="http://schemas.microsoft.com/office/drawing/2014/main" id="{CAD3135A-95A0-606F-5A25-35CF890B232D}"/>
              </a:ext>
            </a:extLst>
          </p:cNvPr>
          <p:cNvSpPr/>
          <p:nvPr/>
        </p:nvSpPr>
        <p:spPr>
          <a:xfrm>
            <a:off x="5072442" y="1275475"/>
            <a:ext cx="6069341" cy="2991727"/>
          </a:xfrm>
          <a:custGeom>
            <a:avLst/>
            <a:gdLst>
              <a:gd name="connsiteX0" fmla="*/ 0 w 6069341"/>
              <a:gd name="connsiteY0" fmla="*/ 0 h 2991727"/>
              <a:gd name="connsiteX1" fmla="*/ 0 w 6069341"/>
              <a:gd name="connsiteY1" fmla="*/ 2991727 h 2991727"/>
              <a:gd name="connsiteX2" fmla="*/ 3084421 w 6069341"/>
              <a:gd name="connsiteY2" fmla="*/ 2991727 h 2991727"/>
              <a:gd name="connsiteX3" fmla="*/ 6069341 w 6069341"/>
              <a:gd name="connsiteY3" fmla="*/ 0 h 2991727"/>
              <a:gd name="connsiteX4" fmla="*/ 0 w 6069341"/>
              <a:gd name="connsiteY4" fmla="*/ 0 h 2991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9341" h="2991727">
                <a:moveTo>
                  <a:pt x="0" y="0"/>
                </a:moveTo>
                <a:lnTo>
                  <a:pt x="0" y="2991727"/>
                </a:lnTo>
                <a:lnTo>
                  <a:pt x="3084421" y="2991727"/>
                </a:lnTo>
                <a:lnTo>
                  <a:pt x="6069341" y="0"/>
                </a:lnTo>
                <a:lnTo>
                  <a:pt x="0" y="0"/>
                </a:lnTo>
                <a:close/>
              </a:path>
            </a:pathLst>
          </a:custGeom>
          <a:solidFill>
            <a:srgbClr val="0070F2"/>
          </a:solidFill>
          <a:ln w="7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5658676" name="LogoBlue-Dynamic" descr="{&quot;templafy&quot;:{&quot;id&quot;:&quot;24dda641-0340-42fc-b199-54e3bbe1e6c5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11" name="Classification-Dynamic" descr="{&quot;templafy&quot;:{&quot;id&quot;:&quot;99d85a1f-5caa-4f35-b7df-eb9703c96eda&quot;}}">
            <a:extLst>
              <a:ext uri="{FF2B5EF4-FFF2-40B4-BE49-F238E27FC236}">
                <a16:creationId xmlns:a16="http://schemas.microsoft.com/office/drawing/2014/main" id="{62D91ACB-BD14-46CB-4B61-F4B072D877C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34175995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581FAEF7-1ACD-83AC-7B42-761E6A30387F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A6E0FF">
              <a:alpha val="42715"/>
            </a:srgbClr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Anvil" descr="preencoded.png">
            <a:extLst>
              <a:ext uri="{FF2B5EF4-FFF2-40B4-BE49-F238E27FC236}">
                <a16:creationId xmlns:a16="http://schemas.microsoft.com/office/drawing/2014/main" id="{94093846-CC07-3993-CA62-86004F1C03F9}"/>
              </a:ext>
            </a:extLst>
          </p:cNvPr>
          <p:cNvSpPr/>
          <p:nvPr/>
        </p:nvSpPr>
        <p:spPr>
          <a:xfrm>
            <a:off x="2289866" y="1275475"/>
            <a:ext cx="8851917" cy="4363327"/>
          </a:xfrm>
          <a:custGeom>
            <a:avLst/>
            <a:gdLst>
              <a:gd name="connsiteX0" fmla="*/ 0 w 8851917"/>
              <a:gd name="connsiteY0" fmla="*/ 0 h 4363327"/>
              <a:gd name="connsiteX1" fmla="*/ 0 w 8851917"/>
              <a:gd name="connsiteY1" fmla="*/ 4363327 h 4363327"/>
              <a:gd name="connsiteX2" fmla="*/ 4498517 w 8851917"/>
              <a:gd name="connsiteY2" fmla="*/ 4363327 h 4363327"/>
              <a:gd name="connsiteX3" fmla="*/ 8851917 w 8851917"/>
              <a:gd name="connsiteY3" fmla="*/ 0 h 4363327"/>
              <a:gd name="connsiteX4" fmla="*/ 0 w 8851917"/>
              <a:gd name="connsiteY4" fmla="*/ 0 h 436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51917" h="4363327">
                <a:moveTo>
                  <a:pt x="0" y="0"/>
                </a:moveTo>
                <a:lnTo>
                  <a:pt x="0" y="4363327"/>
                </a:lnTo>
                <a:lnTo>
                  <a:pt x="4498517" y="4363327"/>
                </a:lnTo>
                <a:lnTo>
                  <a:pt x="8851917" y="0"/>
                </a:lnTo>
                <a:lnTo>
                  <a:pt x="0" y="0"/>
                </a:lnTo>
                <a:close/>
              </a:path>
            </a:pathLst>
          </a:custGeom>
          <a:solidFill>
            <a:srgbClr val="A6E0FF"/>
          </a:solidFill>
          <a:ln w="152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98B98B-8FDE-5B19-2FC7-97058A6B5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92992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990423110" name="LogoBlack-Dynamic" descr="{&quot;templafy&quot;:{&quot;id&quot;:&quot;787d00a1-4cac-4b81-b637-a99274574ec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ad4994d4-76c3-4624-9265-4ebe8c04ee95&quot;}}">
            <a:extLst>
              <a:ext uri="{FF2B5EF4-FFF2-40B4-BE49-F238E27FC236}">
                <a16:creationId xmlns:a16="http://schemas.microsoft.com/office/drawing/2014/main" id="{D417CEF6-1FCD-75B6-FA13-C583ECCE7BE5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6830690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5F3BB899-74C3-EBF7-C191-EC2863B8F536}"/>
              </a:ext>
            </a:extLst>
          </p:cNvPr>
          <p:cNvSpPr/>
          <p:nvPr/>
        </p:nvSpPr>
        <p:spPr>
          <a:xfrm>
            <a:off x="0" y="0"/>
            <a:ext cx="12195175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58000">
                <a:moveTo>
                  <a:pt x="0" y="0"/>
                </a:moveTo>
                <a:lnTo>
                  <a:pt x="12195175" y="0"/>
                </a:lnTo>
                <a:lnTo>
                  <a:pt x="12195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B90FF"/>
          </a:solidFill>
          <a:ln w="112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8" name="Anvil" descr="preencoded.png">
            <a:extLst>
              <a:ext uri="{FF2B5EF4-FFF2-40B4-BE49-F238E27FC236}">
                <a16:creationId xmlns:a16="http://schemas.microsoft.com/office/drawing/2014/main" id="{39A9B643-3B5A-F0D7-C3BF-3A81DE80FEB6}"/>
              </a:ext>
            </a:extLst>
          </p:cNvPr>
          <p:cNvSpPr/>
          <p:nvPr/>
        </p:nvSpPr>
        <p:spPr>
          <a:xfrm>
            <a:off x="287339" y="935666"/>
            <a:ext cx="6762048" cy="3333180"/>
          </a:xfrm>
          <a:custGeom>
            <a:avLst/>
            <a:gdLst>
              <a:gd name="connsiteX0" fmla="*/ 0 w 6762048"/>
              <a:gd name="connsiteY0" fmla="*/ 0 h 3333180"/>
              <a:gd name="connsiteX1" fmla="*/ 0 w 6762048"/>
              <a:gd name="connsiteY1" fmla="*/ 3333180 h 3333180"/>
              <a:gd name="connsiteX2" fmla="*/ 3436452 w 6762048"/>
              <a:gd name="connsiteY2" fmla="*/ 3333180 h 3333180"/>
              <a:gd name="connsiteX3" fmla="*/ 6762048 w 6762048"/>
              <a:gd name="connsiteY3" fmla="*/ 0 h 3333180"/>
              <a:gd name="connsiteX4" fmla="*/ 0 w 6762048"/>
              <a:gd name="connsiteY4" fmla="*/ 0 h 333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62048" h="3333180">
                <a:moveTo>
                  <a:pt x="0" y="0"/>
                </a:moveTo>
                <a:lnTo>
                  <a:pt x="0" y="3333180"/>
                </a:lnTo>
                <a:lnTo>
                  <a:pt x="3436452" y="3333180"/>
                </a:lnTo>
                <a:lnTo>
                  <a:pt x="676204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2A86"/>
          </a:solidFill>
          <a:ln w="9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709C0759-3773-C728-D6A6-855D822107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876593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bg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135688672" name="LogoWhite-Dynamic" descr="{&quot;templafy&quot;:{&quot;id&quot;:&quot;468cc11e-ebc9-42f4-be65-89cdfb44a347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b798b046-f929-4909-a836-5f798d360ff5&quot;}}">
            <a:extLst>
              <a:ext uri="{FF2B5EF4-FFF2-40B4-BE49-F238E27FC236}">
                <a16:creationId xmlns:a16="http://schemas.microsoft.com/office/drawing/2014/main" id="{D67AB148-356D-F356-4E6C-9664D9EB9DF3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9758156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 cover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83FFCA81-9D1B-7BE9-9F97-BEDB3E67519A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8860E7D-5DEB-5F1B-5AAF-4C41BD1A77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8700" y="0"/>
            <a:ext cx="6086475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28936725" name="Acquired Company Logo Placeholder" descr="{&quot;templafy&quot;:{&quot;id&quot;:&quot;e24a6e43-600a-4c6b-89de-bcf3787a4fa8&quot;}}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3866429" name="LogoBlue-Dynamic" descr="{&quot;templafy&quot;:{&quot;id&quot;:&quot;2adb6e73-401a-40c8-920f-314d5e045a9a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19fd4b9e-aabf-4332-9e0c-96b627a7d3e6&quot;}}">
            <a:extLst>
              <a:ext uri="{FF2B5EF4-FFF2-40B4-BE49-F238E27FC236}">
                <a16:creationId xmlns:a16="http://schemas.microsoft.com/office/drawing/2014/main" id="{4A078429-99DD-7555-B0F4-FEF46FD297B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779654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 an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9DE307C8-D1C3-00E2-C5B0-2A7EBB981384}"/>
              </a:ext>
            </a:extLst>
          </p:cNvPr>
          <p:cNvSpPr/>
          <p:nvPr/>
        </p:nvSpPr>
        <p:spPr>
          <a:xfrm>
            <a:off x="0" y="2"/>
            <a:ext cx="12195175" cy="6861495"/>
          </a:xfrm>
          <a:custGeom>
            <a:avLst/>
            <a:gdLst>
              <a:gd name="connsiteX0" fmla="*/ 0 w 12195175"/>
              <a:gd name="connsiteY0" fmla="*/ 0 h 6861495"/>
              <a:gd name="connsiteX1" fmla="*/ 12195175 w 12195175"/>
              <a:gd name="connsiteY1" fmla="*/ 0 h 6861495"/>
              <a:gd name="connsiteX2" fmla="*/ 12195175 w 12195175"/>
              <a:gd name="connsiteY2" fmla="*/ 6861496 h 6861495"/>
              <a:gd name="connsiteX3" fmla="*/ 0 w 12195175"/>
              <a:gd name="connsiteY3" fmla="*/ 6861496 h 6861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61495">
                <a:moveTo>
                  <a:pt x="0" y="0"/>
                </a:moveTo>
                <a:lnTo>
                  <a:pt x="12195175" y="0"/>
                </a:lnTo>
                <a:lnTo>
                  <a:pt x="12195175" y="6861496"/>
                </a:lnTo>
                <a:lnTo>
                  <a:pt x="0" y="6861496"/>
                </a:lnTo>
                <a:close/>
              </a:path>
            </a:pathLst>
          </a:custGeom>
          <a:solidFill>
            <a:srgbClr val="0057D2"/>
          </a:solidFill>
          <a:ln w="1016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6" name="Anvil" descr="preencoded.png">
            <a:extLst>
              <a:ext uri="{FF2B5EF4-FFF2-40B4-BE49-F238E27FC236}">
                <a16:creationId xmlns:a16="http://schemas.microsoft.com/office/drawing/2014/main" id="{6C575B3E-49FD-8450-F2CB-84C6E7A1153D}"/>
              </a:ext>
            </a:extLst>
          </p:cNvPr>
          <p:cNvSpPr/>
          <p:nvPr/>
        </p:nvSpPr>
        <p:spPr>
          <a:xfrm>
            <a:off x="752355" y="1156532"/>
            <a:ext cx="5613722" cy="2756252"/>
          </a:xfrm>
          <a:custGeom>
            <a:avLst/>
            <a:gdLst>
              <a:gd name="connsiteX0" fmla="*/ 0 w 5613722"/>
              <a:gd name="connsiteY0" fmla="*/ 0 h 2756252"/>
              <a:gd name="connsiteX1" fmla="*/ 0 w 5613722"/>
              <a:gd name="connsiteY1" fmla="*/ 2756252 h 2756252"/>
              <a:gd name="connsiteX2" fmla="*/ 2852875 w 5613722"/>
              <a:gd name="connsiteY2" fmla="*/ 2756252 h 2756252"/>
              <a:gd name="connsiteX3" fmla="*/ 5613722 w 5613722"/>
              <a:gd name="connsiteY3" fmla="*/ 0 h 2756252"/>
              <a:gd name="connsiteX4" fmla="*/ 0 w 5613722"/>
              <a:gd name="connsiteY4" fmla="*/ 0 h 2756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3722" h="2756252">
                <a:moveTo>
                  <a:pt x="0" y="0"/>
                </a:moveTo>
                <a:lnTo>
                  <a:pt x="0" y="2756252"/>
                </a:lnTo>
                <a:lnTo>
                  <a:pt x="2852875" y="2756252"/>
                </a:lnTo>
                <a:lnTo>
                  <a:pt x="5613722" y="0"/>
                </a:lnTo>
                <a:lnTo>
                  <a:pt x="0" y="0"/>
                </a:lnTo>
                <a:close/>
              </a:path>
            </a:pathLst>
          </a:custGeom>
          <a:solidFill>
            <a:srgbClr val="1B90FF"/>
          </a:solidFill>
          <a:ln w="927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F6D8674-EA25-0C87-7F7A-4B6FFA7F1F1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36063" y="0"/>
            <a:ext cx="4359114" cy="6858000"/>
          </a:xfrm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222ABC1-A03E-5EDE-02E2-6F3794850C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401" y="2206502"/>
            <a:ext cx="5529704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bg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62713959" name="LogoWhite-Dynamic" descr="{&quot;templafy&quot;:{&quot;id&quot;:&quot;ae30ed49-76db-405c-8e79-7aba1a001200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5" name="Classification-Dynamic" descr="{&quot;templafy&quot;:{&quot;id&quot;:&quot;c0ba914e-4f09-45b0-9f6c-35c8b490f42b&quot;}}">
            <a:extLst>
              <a:ext uri="{FF2B5EF4-FFF2-40B4-BE49-F238E27FC236}">
                <a16:creationId xmlns:a16="http://schemas.microsoft.com/office/drawing/2014/main" id="{7A6CB977-D711-D436-9DC2-AAFCC56F9CAA}"/>
              </a:ext>
            </a:extLst>
          </p:cNvPr>
          <p:cNvSpPr txBox="1"/>
          <p:nvPr userDrawn="1"/>
        </p:nvSpPr>
        <p:spPr>
          <a:xfrm>
            <a:off x="440401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1820848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5F3BB899-74C3-EBF7-C191-EC2863B8F536}"/>
              </a:ext>
            </a:extLst>
          </p:cNvPr>
          <p:cNvSpPr/>
          <p:nvPr/>
        </p:nvSpPr>
        <p:spPr>
          <a:xfrm>
            <a:off x="0" y="0"/>
            <a:ext cx="12195175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58000">
                <a:moveTo>
                  <a:pt x="0" y="0"/>
                </a:moveTo>
                <a:lnTo>
                  <a:pt x="12195175" y="0"/>
                </a:lnTo>
                <a:lnTo>
                  <a:pt x="12195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B90FF"/>
          </a:solidFill>
          <a:ln w="112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Anvil" descr="preencoded.png">
            <a:extLst>
              <a:ext uri="{FF2B5EF4-FFF2-40B4-BE49-F238E27FC236}">
                <a16:creationId xmlns:a16="http://schemas.microsoft.com/office/drawing/2014/main" id="{39A9B643-3B5A-F0D7-C3BF-3A81DE80FEB6}"/>
              </a:ext>
            </a:extLst>
          </p:cNvPr>
          <p:cNvSpPr/>
          <p:nvPr/>
        </p:nvSpPr>
        <p:spPr>
          <a:xfrm>
            <a:off x="287339" y="935666"/>
            <a:ext cx="6762048" cy="3333180"/>
          </a:xfrm>
          <a:custGeom>
            <a:avLst/>
            <a:gdLst>
              <a:gd name="connsiteX0" fmla="*/ 0 w 6762048"/>
              <a:gd name="connsiteY0" fmla="*/ 0 h 3333180"/>
              <a:gd name="connsiteX1" fmla="*/ 0 w 6762048"/>
              <a:gd name="connsiteY1" fmla="*/ 3333180 h 3333180"/>
              <a:gd name="connsiteX2" fmla="*/ 3436452 w 6762048"/>
              <a:gd name="connsiteY2" fmla="*/ 3333180 h 3333180"/>
              <a:gd name="connsiteX3" fmla="*/ 6762048 w 6762048"/>
              <a:gd name="connsiteY3" fmla="*/ 0 h 3333180"/>
              <a:gd name="connsiteX4" fmla="*/ 0 w 6762048"/>
              <a:gd name="connsiteY4" fmla="*/ 0 h 333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62048" h="3333180">
                <a:moveTo>
                  <a:pt x="0" y="0"/>
                </a:moveTo>
                <a:lnTo>
                  <a:pt x="0" y="3333180"/>
                </a:lnTo>
                <a:lnTo>
                  <a:pt x="3436452" y="3333180"/>
                </a:lnTo>
                <a:lnTo>
                  <a:pt x="676204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2A86"/>
          </a:solidFill>
          <a:ln w="9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709C0759-3773-C728-D6A6-855D822107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876593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bg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135688672" name="LogoWhite-Dynamic" descr="{&quot;templafy&quot;:{&quot;id&quot;:&quot;468cc11e-ebc9-42f4-be65-89cdfb44a347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b798b046-f929-4909-a836-5f798d360ff5&quot;}}">
            <a:extLst>
              <a:ext uri="{FF2B5EF4-FFF2-40B4-BE49-F238E27FC236}">
                <a16:creationId xmlns:a16="http://schemas.microsoft.com/office/drawing/2014/main" id="{D67AB148-356D-F356-4E6C-9664D9EB9DF3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42932821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580844"/>
            <a:ext cx="11185200" cy="4764394"/>
          </a:xfrm>
        </p:spPr>
        <p:txBody>
          <a:bodyPr>
            <a:normAutofit/>
          </a:bodyPr>
          <a:lstStyle>
            <a:lvl1pPr marL="0" marR="0" indent="0" algn="l" defTabSz="1088231" rtl="0" eaLnBrk="1" fontAlgn="auto" latinLnBrk="0" hangingPunct="1">
              <a:lnSpc>
                <a:spcPct val="100000"/>
              </a:lnSpc>
              <a:spcBef>
                <a:spcPts val="29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999" b="0"/>
            </a:lvl1pPr>
            <a:lvl2pPr marL="179910" marR="0" indent="-17991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799"/>
            </a:lvl2pPr>
            <a:lvl3pPr marL="359820" marR="0" indent="-179298" algn="l" defTabSz="1088231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799" baseline="0"/>
            </a:lvl3pPr>
            <a:lvl4pPr marL="539730" marR="0" indent="-179910" algn="l" defTabSz="1088231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918157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98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6">
          <p15:clr>
            <a:srgbClr val="FBAE40"/>
          </p15:clr>
        </p15:guide>
        <p15:guide id="5" orient="horz" pos="551">
          <p15:clr>
            <a:srgbClr val="FBAE40"/>
          </p15:clr>
        </p15:guide>
        <p15:guide id="6" orient="horz" pos="3997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220722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4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801228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03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055227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03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656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1651" y="1557338"/>
            <a:ext cx="11186477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7674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981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827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7">
          <p15:clr>
            <a:srgbClr val="FBAE40"/>
          </p15:clr>
        </p15:guide>
        <p15:guide id="3" pos="7364">
          <p15:clr>
            <a:srgbClr val="FBAE40"/>
          </p15:clr>
        </p15:guide>
        <p15:guide id="4" pos="3674">
          <p15:clr>
            <a:srgbClr val="FBAE40"/>
          </p15:clr>
        </p15:guide>
        <p15:guide id="5" pos="4007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981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2181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563">
          <p15:clr>
            <a:srgbClr val="FBAE40"/>
          </p15:clr>
        </p15:guide>
        <p15:guide id="4" pos="2717">
          <p15:clr>
            <a:srgbClr val="FBAE40"/>
          </p15:clr>
        </p15:guide>
        <p15:guide id="5" pos="4964">
          <p15:clr>
            <a:srgbClr val="FBAE40"/>
          </p15:clr>
        </p15:guide>
        <p15:guide id="6" pos="5119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981">
          <p15:clr>
            <a:srgbClr val="FBAE40"/>
          </p15:clr>
        </p15:guide>
        <p15:guide id="10" orient="horz" pos="3997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557339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9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917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2750">
          <p15:clr>
            <a:srgbClr val="FBAE40"/>
          </p15:clr>
        </p15:guide>
        <p15:guide id="6" orient="horz" pos="3004">
          <p15:clr>
            <a:srgbClr val="FBAE40"/>
          </p15:clr>
        </p15:guide>
        <p15:guide id="7" orient="horz" pos="3997">
          <p15:clr>
            <a:srgbClr val="FBAE40"/>
          </p15:clr>
        </p15:guide>
        <p15:guide id="8" pos="3682">
          <p15:clr>
            <a:srgbClr val="FBAE40"/>
          </p15:clr>
        </p15:guide>
        <p15:guide id="9" pos="4000">
          <p15:clr>
            <a:srgbClr val="FBAE40"/>
          </p15:clr>
        </p15:guide>
        <p15:guide id="10" pos="7364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61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455">
          <p15:clr>
            <a:srgbClr val="FBAE40"/>
          </p15:clr>
        </p15:guide>
        <p15:guide id="4" pos="2773">
          <p15:clr>
            <a:srgbClr val="FBAE40"/>
          </p15:clr>
        </p15:guide>
        <p15:guide id="5" pos="4910">
          <p15:clr>
            <a:srgbClr val="FBAE40"/>
          </p15:clr>
        </p15:guide>
        <p15:guide id="6" pos="5227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981">
          <p15:clr>
            <a:srgbClr val="FBAE40"/>
          </p15:clr>
        </p15:guide>
        <p15:guide id="10" orient="horz" pos="2428">
          <p15:clr>
            <a:srgbClr val="FBAE40"/>
          </p15:clr>
        </p15:guide>
        <p15:guide id="11" orient="horz" pos="2743">
          <p15:clr>
            <a:srgbClr val="FBAE40"/>
          </p15:clr>
        </p15:guide>
        <p15:guide id="12" orient="horz" pos="399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 cover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83FFCA81-9D1B-7BE9-9F97-BEDB3E67519A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8860E7D-5DEB-5F1B-5AAF-4C41BD1A77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8700" y="0"/>
            <a:ext cx="6086475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28936725" name="Acquired Company Logo Placeholder" descr="{&quot;templafy&quot;:{&quot;id&quot;:&quot;e24a6e43-600a-4c6b-89de-bcf3787a4fa8&quot;}}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3866429" name="LogoBlue-Dynamic" descr="{&quot;templafy&quot;:{&quot;id&quot;:&quot;2adb6e73-401a-40c8-920f-314d5e045a9a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19fd4b9e-aabf-4332-9e0c-96b627a7d3e6&quot;}}">
            <a:extLst>
              <a:ext uri="{FF2B5EF4-FFF2-40B4-BE49-F238E27FC236}">
                <a16:creationId xmlns:a16="http://schemas.microsoft.com/office/drawing/2014/main" id="{4A078429-99DD-7555-B0F4-FEF46FD297B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0436557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3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3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7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341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442">
          <p15:clr>
            <a:srgbClr val="FBAE40"/>
          </p15:clr>
        </p15:guide>
        <p15:guide id="7" orient="horz" pos="3990">
          <p15:clr>
            <a:srgbClr val="FBAE40"/>
          </p15:clr>
        </p15:guide>
        <p15:guide id="8" pos="1840">
          <p15:clr>
            <a:srgbClr val="FBAE40"/>
          </p15:clr>
        </p15:guide>
        <p15:guide id="9" pos="2159">
          <p15:clr>
            <a:srgbClr val="FBAE40"/>
          </p15:clr>
        </p15:guide>
        <p15:guide id="10" pos="3683">
          <p15:clr>
            <a:srgbClr val="FBAE40"/>
          </p15:clr>
        </p15:guide>
        <p15:guide id="11" pos="4000">
          <p15:clr>
            <a:srgbClr val="FBAE40"/>
          </p15:clr>
        </p15:guide>
        <p15:guide id="12" pos="5525">
          <p15:clr>
            <a:srgbClr val="FBAE40"/>
          </p15:clr>
        </p15:guide>
        <p15:guide id="13" pos="5842">
          <p15:clr>
            <a:srgbClr val="FBAE40"/>
          </p15:clr>
        </p15:guide>
        <p15:guide id="14" pos="7364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802" indent="-395802">
              <a:lnSpc>
                <a:spcPct val="90000"/>
              </a:lnSpc>
              <a:spcBef>
                <a:spcPts val="600"/>
              </a:spcBef>
              <a:defRPr sz="5997" b="0" i="0">
                <a:latin typeface="72 Brand Medium" panose="020B0504030603020204" pitchFamily="34" charset="0"/>
              </a:defRPr>
            </a:lvl1pPr>
            <a:lvl2pPr marL="395802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6325029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4" orient="horz" pos="1133">
          <p15:clr>
            <a:srgbClr val="FBAE40"/>
          </p15:clr>
        </p15:guide>
        <p15:guide id="5" orient="horz" pos="3204">
          <p15:clr>
            <a:srgbClr val="FBAE40"/>
          </p15:clr>
        </p15:guide>
        <p15:guide id="6" pos="7363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557338"/>
            <a:ext cx="7092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0562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4786">
          <p15:clr>
            <a:srgbClr val="FBAE40"/>
          </p15:clr>
        </p15:guide>
        <p15:guide id="4" pos="5111">
          <p15:clr>
            <a:srgbClr val="FBAE40"/>
          </p15:clr>
        </p15:guide>
        <p15:guide id="5" orient="horz" pos="317">
          <p15:clr>
            <a:srgbClr val="FBAE40"/>
          </p15:clr>
        </p15:guide>
        <p15:guide id="6" orient="horz" pos="551">
          <p15:clr>
            <a:srgbClr val="FBAE40"/>
          </p15:clr>
        </p15:guide>
        <p15:guide id="7" orient="horz" pos="981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822764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557338"/>
            <a:ext cx="5328000" cy="4778662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1557338"/>
            <a:ext cx="5328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480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981">
          <p15:clr>
            <a:srgbClr val="FBAE40"/>
          </p15:clr>
        </p15:guide>
        <p15:guide id="3" pos="3674">
          <p15:clr>
            <a:srgbClr val="FBAE40"/>
          </p15:clr>
        </p15:guide>
        <p15:guide id="4" pos="4008">
          <p15:clr>
            <a:srgbClr val="FBAE40"/>
          </p15:clr>
        </p15:guide>
        <p15:guide id="5" pos="7364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3991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557338"/>
            <a:ext cx="11185200" cy="4778662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002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3991">
          <p15:clr>
            <a:srgbClr val="FBAE40"/>
          </p15:clr>
        </p15:guide>
        <p15:guide id="6" pos="7364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032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40" y="2905127"/>
            <a:ext cx="184393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449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 b="0" i="0">
                <a:latin typeface="+mn-lt"/>
              </a:rPr>
              <a:t>Contact information:</a:t>
            </a:r>
          </a:p>
        </p:txBody>
      </p:sp>
      <p:sp>
        <p:nvSpPr>
          <p:cNvPr id="9" name="Copyright - Dynamic" descr="{&quot;templafy&quot;:{&quot;id&quot;:&quot;68c8689a-7a81-470c-8a82-d35a6ccb8b77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+mn-lt"/>
              </a:rPr>
              <a:t>© 2024 SAP SE or an SAP affiliate company. All rights reserved. See Legal Notice on </a:t>
            </a:r>
            <a:r>
              <a:rPr lang="en-US" sz="600" b="0" i="0" err="1">
                <a:latin typeface="+mn-lt"/>
              </a:rPr>
              <a:t>www.sap.com</a:t>
            </a:r>
            <a:r>
              <a:rPr lang="en-US" sz="600" b="0" i="0">
                <a:latin typeface="+mn-lt"/>
              </a:rPr>
              <a:t>/legal-notice for use terms, disclaimers, disclosures, or restrictions related to this material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92DE12-4084-77D2-FD2A-8E63F6FBE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520825"/>
            <a:ext cx="5413477" cy="846386"/>
          </a:xfrm>
        </p:spPr>
        <p:txBody>
          <a:bodyPr/>
          <a:lstStyle>
            <a:lvl1pPr>
              <a:defRPr sz="5498" b="0" i="0">
                <a:latin typeface="72 Brand Medium" panose="020B0504030603020204" pitchFamily="34" charset="0"/>
              </a:defRPr>
            </a:lvl1pPr>
          </a:lstStyle>
          <a:p>
            <a:r>
              <a:rPr lang="en-GB"/>
              <a:t>Thank you.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23274F-1EBD-A73A-AC54-963A234E9E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291" y="5990000"/>
            <a:ext cx="72705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75579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>
          <p15:clr>
            <a:srgbClr val="FBAE40"/>
          </p15:clr>
        </p15:guide>
        <p15:guide id="2" orient="horz" pos="958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4000">
          <p15:clr>
            <a:srgbClr val="FBAE40"/>
          </p15:clr>
        </p15:guide>
        <p15:guide id="6" pos="317">
          <p15:clr>
            <a:srgbClr val="FBAE40"/>
          </p15:clr>
        </p15:guide>
        <p15:guide id="8" pos="3841">
          <p15:clr>
            <a:srgbClr val="FBAE40"/>
          </p15:clr>
        </p15:guide>
        <p15:guide id="9" orient="horz" pos="318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755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al Small Anvil Outline Pattern Divi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7DB55A2-4C35-5451-67D3-87BC90EB113D}"/>
              </a:ext>
            </a:extLst>
          </p:cNvPr>
          <p:cNvSpPr/>
          <p:nvPr userDrawn="1"/>
        </p:nvSpPr>
        <p:spPr>
          <a:xfrm>
            <a:off x="0" y="0"/>
            <a:ext cx="12195175" cy="6858000"/>
          </a:xfrm>
          <a:prstGeom prst="rect">
            <a:avLst/>
          </a:prstGeom>
          <a:solidFill>
            <a:srgbClr val="89D1FF"/>
          </a:solidFill>
          <a:ln w="4467" cap="flat">
            <a:noFill/>
            <a:prstDash val="solid"/>
            <a:miter/>
          </a:ln>
        </p:spPr>
        <p:txBody>
          <a:bodyPr rtlCol="0" anchor="ctr"/>
          <a:lstStyle/>
          <a:p>
            <a:pPr algn="l" defTabSz="1088327"/>
            <a:endParaRPr lang="en-US" sz="1799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95179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tags" Target="../tags/tag86.xml"/><Relationship Id="rId21" Type="http://schemas.openxmlformats.org/officeDocument/2006/relationships/slideLayout" Target="../slideLayouts/slideLayout21.xml"/><Relationship Id="rId42" Type="http://schemas.openxmlformats.org/officeDocument/2006/relationships/tags" Target="../tags/tag11.xml"/><Relationship Id="rId63" Type="http://schemas.openxmlformats.org/officeDocument/2006/relationships/tags" Target="../tags/tag32.xml"/><Relationship Id="rId84" Type="http://schemas.openxmlformats.org/officeDocument/2006/relationships/tags" Target="../tags/tag53.xml"/><Relationship Id="rId138" Type="http://schemas.openxmlformats.org/officeDocument/2006/relationships/tags" Target="../tags/tag107.xml"/><Relationship Id="rId107" Type="http://schemas.openxmlformats.org/officeDocument/2006/relationships/tags" Target="../tags/tag76.xml"/><Relationship Id="rId11" Type="http://schemas.openxmlformats.org/officeDocument/2006/relationships/slideLayout" Target="../slideLayouts/slideLayout11.xml"/><Relationship Id="rId32" Type="http://schemas.openxmlformats.org/officeDocument/2006/relationships/theme" Target="../theme/theme1.xml"/><Relationship Id="rId53" Type="http://schemas.openxmlformats.org/officeDocument/2006/relationships/tags" Target="../tags/tag22.xml"/><Relationship Id="rId74" Type="http://schemas.openxmlformats.org/officeDocument/2006/relationships/tags" Target="../tags/tag43.xml"/><Relationship Id="rId128" Type="http://schemas.openxmlformats.org/officeDocument/2006/relationships/tags" Target="../tags/tag97.xml"/><Relationship Id="rId149" Type="http://schemas.openxmlformats.org/officeDocument/2006/relationships/tags" Target="../tags/tag118.xml"/><Relationship Id="rId5" Type="http://schemas.openxmlformats.org/officeDocument/2006/relationships/slideLayout" Target="../slideLayouts/slideLayout5.xml"/><Relationship Id="rId95" Type="http://schemas.openxmlformats.org/officeDocument/2006/relationships/tags" Target="../tags/tag64.xml"/><Relationship Id="rId22" Type="http://schemas.openxmlformats.org/officeDocument/2006/relationships/slideLayout" Target="../slideLayouts/slideLayout22.xml"/><Relationship Id="rId43" Type="http://schemas.openxmlformats.org/officeDocument/2006/relationships/tags" Target="../tags/tag12.xml"/><Relationship Id="rId64" Type="http://schemas.openxmlformats.org/officeDocument/2006/relationships/tags" Target="../tags/tag33.xml"/><Relationship Id="rId118" Type="http://schemas.openxmlformats.org/officeDocument/2006/relationships/tags" Target="../tags/tag87.xml"/><Relationship Id="rId139" Type="http://schemas.openxmlformats.org/officeDocument/2006/relationships/tags" Target="../tags/tag108.xml"/><Relationship Id="rId80" Type="http://schemas.openxmlformats.org/officeDocument/2006/relationships/tags" Target="../tags/tag49.xml"/><Relationship Id="rId85" Type="http://schemas.openxmlformats.org/officeDocument/2006/relationships/tags" Target="../tags/tag54.xml"/><Relationship Id="rId150" Type="http://schemas.openxmlformats.org/officeDocument/2006/relationships/tags" Target="../tags/tag119.xml"/><Relationship Id="rId155" Type="http://schemas.openxmlformats.org/officeDocument/2006/relationships/tags" Target="../tags/tag124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tags" Target="../tags/tag2.xml"/><Relationship Id="rId38" Type="http://schemas.openxmlformats.org/officeDocument/2006/relationships/tags" Target="../tags/tag7.xml"/><Relationship Id="rId59" Type="http://schemas.openxmlformats.org/officeDocument/2006/relationships/tags" Target="../tags/tag28.xml"/><Relationship Id="rId103" Type="http://schemas.openxmlformats.org/officeDocument/2006/relationships/tags" Target="../tags/tag72.xml"/><Relationship Id="rId108" Type="http://schemas.openxmlformats.org/officeDocument/2006/relationships/tags" Target="../tags/tag77.xml"/><Relationship Id="rId124" Type="http://schemas.openxmlformats.org/officeDocument/2006/relationships/tags" Target="../tags/tag93.xml"/><Relationship Id="rId129" Type="http://schemas.openxmlformats.org/officeDocument/2006/relationships/tags" Target="../tags/tag98.xml"/><Relationship Id="rId54" Type="http://schemas.openxmlformats.org/officeDocument/2006/relationships/tags" Target="../tags/tag23.xml"/><Relationship Id="rId70" Type="http://schemas.openxmlformats.org/officeDocument/2006/relationships/tags" Target="../tags/tag39.xml"/><Relationship Id="rId75" Type="http://schemas.openxmlformats.org/officeDocument/2006/relationships/tags" Target="../tags/tag44.xml"/><Relationship Id="rId91" Type="http://schemas.openxmlformats.org/officeDocument/2006/relationships/tags" Target="../tags/tag60.xml"/><Relationship Id="rId96" Type="http://schemas.openxmlformats.org/officeDocument/2006/relationships/tags" Target="../tags/tag65.xml"/><Relationship Id="rId140" Type="http://schemas.openxmlformats.org/officeDocument/2006/relationships/tags" Target="../tags/tag109.xml"/><Relationship Id="rId145" Type="http://schemas.openxmlformats.org/officeDocument/2006/relationships/tags" Target="../tags/tag11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49" Type="http://schemas.openxmlformats.org/officeDocument/2006/relationships/tags" Target="../tags/tag18.xml"/><Relationship Id="rId114" Type="http://schemas.openxmlformats.org/officeDocument/2006/relationships/tags" Target="../tags/tag83.xml"/><Relationship Id="rId119" Type="http://schemas.openxmlformats.org/officeDocument/2006/relationships/tags" Target="../tags/tag88.xml"/><Relationship Id="rId44" Type="http://schemas.openxmlformats.org/officeDocument/2006/relationships/tags" Target="../tags/tag13.xml"/><Relationship Id="rId60" Type="http://schemas.openxmlformats.org/officeDocument/2006/relationships/tags" Target="../tags/tag29.xml"/><Relationship Id="rId65" Type="http://schemas.openxmlformats.org/officeDocument/2006/relationships/tags" Target="../tags/tag34.xml"/><Relationship Id="rId81" Type="http://schemas.openxmlformats.org/officeDocument/2006/relationships/tags" Target="../tags/tag50.xml"/><Relationship Id="rId86" Type="http://schemas.openxmlformats.org/officeDocument/2006/relationships/tags" Target="../tags/tag55.xml"/><Relationship Id="rId130" Type="http://schemas.openxmlformats.org/officeDocument/2006/relationships/tags" Target="../tags/tag99.xml"/><Relationship Id="rId135" Type="http://schemas.openxmlformats.org/officeDocument/2006/relationships/tags" Target="../tags/tag104.xml"/><Relationship Id="rId151" Type="http://schemas.openxmlformats.org/officeDocument/2006/relationships/tags" Target="../tags/tag120.xml"/><Relationship Id="rId156" Type="http://schemas.openxmlformats.org/officeDocument/2006/relationships/tags" Target="../tags/tag125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tags" Target="../tags/tag8.xml"/><Relationship Id="rId109" Type="http://schemas.openxmlformats.org/officeDocument/2006/relationships/tags" Target="../tags/tag78.xml"/><Relationship Id="rId34" Type="http://schemas.openxmlformats.org/officeDocument/2006/relationships/tags" Target="../tags/tag3.xml"/><Relationship Id="rId50" Type="http://schemas.openxmlformats.org/officeDocument/2006/relationships/tags" Target="../tags/tag19.xml"/><Relationship Id="rId55" Type="http://schemas.openxmlformats.org/officeDocument/2006/relationships/tags" Target="../tags/tag24.xml"/><Relationship Id="rId76" Type="http://schemas.openxmlformats.org/officeDocument/2006/relationships/tags" Target="../tags/tag45.xml"/><Relationship Id="rId97" Type="http://schemas.openxmlformats.org/officeDocument/2006/relationships/tags" Target="../tags/tag66.xml"/><Relationship Id="rId104" Type="http://schemas.openxmlformats.org/officeDocument/2006/relationships/tags" Target="../tags/tag73.xml"/><Relationship Id="rId120" Type="http://schemas.openxmlformats.org/officeDocument/2006/relationships/tags" Target="../tags/tag89.xml"/><Relationship Id="rId125" Type="http://schemas.openxmlformats.org/officeDocument/2006/relationships/tags" Target="../tags/tag94.xml"/><Relationship Id="rId141" Type="http://schemas.openxmlformats.org/officeDocument/2006/relationships/tags" Target="../tags/tag110.xml"/><Relationship Id="rId146" Type="http://schemas.openxmlformats.org/officeDocument/2006/relationships/tags" Target="../tags/tag115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40.xml"/><Relationship Id="rId92" Type="http://schemas.openxmlformats.org/officeDocument/2006/relationships/tags" Target="../tags/tag6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tags" Target="../tags/tag9.xml"/><Relationship Id="rId45" Type="http://schemas.openxmlformats.org/officeDocument/2006/relationships/tags" Target="../tags/tag14.xml"/><Relationship Id="rId66" Type="http://schemas.openxmlformats.org/officeDocument/2006/relationships/tags" Target="../tags/tag35.xml"/><Relationship Id="rId87" Type="http://schemas.openxmlformats.org/officeDocument/2006/relationships/tags" Target="../tags/tag56.xml"/><Relationship Id="rId110" Type="http://schemas.openxmlformats.org/officeDocument/2006/relationships/tags" Target="../tags/tag79.xml"/><Relationship Id="rId115" Type="http://schemas.openxmlformats.org/officeDocument/2006/relationships/tags" Target="../tags/tag84.xml"/><Relationship Id="rId131" Type="http://schemas.openxmlformats.org/officeDocument/2006/relationships/tags" Target="../tags/tag100.xml"/><Relationship Id="rId136" Type="http://schemas.openxmlformats.org/officeDocument/2006/relationships/tags" Target="../tags/tag105.xml"/><Relationship Id="rId157" Type="http://schemas.openxmlformats.org/officeDocument/2006/relationships/oleObject" Target="../embeddings/oleObject1.bin"/><Relationship Id="rId61" Type="http://schemas.openxmlformats.org/officeDocument/2006/relationships/tags" Target="../tags/tag30.xml"/><Relationship Id="rId82" Type="http://schemas.openxmlformats.org/officeDocument/2006/relationships/tags" Target="../tags/tag51.xml"/><Relationship Id="rId152" Type="http://schemas.openxmlformats.org/officeDocument/2006/relationships/tags" Target="../tags/tag12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4.xml"/><Relationship Id="rId56" Type="http://schemas.openxmlformats.org/officeDocument/2006/relationships/tags" Target="../tags/tag25.xml"/><Relationship Id="rId77" Type="http://schemas.openxmlformats.org/officeDocument/2006/relationships/tags" Target="../tags/tag46.xml"/><Relationship Id="rId100" Type="http://schemas.openxmlformats.org/officeDocument/2006/relationships/tags" Target="../tags/tag69.xml"/><Relationship Id="rId105" Type="http://schemas.openxmlformats.org/officeDocument/2006/relationships/tags" Target="../tags/tag74.xml"/><Relationship Id="rId126" Type="http://schemas.openxmlformats.org/officeDocument/2006/relationships/tags" Target="../tags/tag95.xml"/><Relationship Id="rId147" Type="http://schemas.openxmlformats.org/officeDocument/2006/relationships/tags" Target="../tags/tag116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0.xml"/><Relationship Id="rId72" Type="http://schemas.openxmlformats.org/officeDocument/2006/relationships/tags" Target="../tags/tag41.xml"/><Relationship Id="rId93" Type="http://schemas.openxmlformats.org/officeDocument/2006/relationships/tags" Target="../tags/tag62.xml"/><Relationship Id="rId98" Type="http://schemas.openxmlformats.org/officeDocument/2006/relationships/tags" Target="../tags/tag67.xml"/><Relationship Id="rId121" Type="http://schemas.openxmlformats.org/officeDocument/2006/relationships/tags" Target="../tags/tag90.xml"/><Relationship Id="rId142" Type="http://schemas.openxmlformats.org/officeDocument/2006/relationships/tags" Target="../tags/tag111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tags" Target="../tags/tag15.xml"/><Relationship Id="rId67" Type="http://schemas.openxmlformats.org/officeDocument/2006/relationships/tags" Target="../tags/tag36.xml"/><Relationship Id="rId116" Type="http://schemas.openxmlformats.org/officeDocument/2006/relationships/tags" Target="../tags/tag85.xml"/><Relationship Id="rId137" Type="http://schemas.openxmlformats.org/officeDocument/2006/relationships/tags" Target="../tags/tag106.xml"/><Relationship Id="rId158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10.xml"/><Relationship Id="rId62" Type="http://schemas.openxmlformats.org/officeDocument/2006/relationships/tags" Target="../tags/tag31.xml"/><Relationship Id="rId83" Type="http://schemas.openxmlformats.org/officeDocument/2006/relationships/tags" Target="../tags/tag52.xml"/><Relationship Id="rId88" Type="http://schemas.openxmlformats.org/officeDocument/2006/relationships/tags" Target="../tags/tag57.xml"/><Relationship Id="rId111" Type="http://schemas.openxmlformats.org/officeDocument/2006/relationships/tags" Target="../tags/tag80.xml"/><Relationship Id="rId132" Type="http://schemas.openxmlformats.org/officeDocument/2006/relationships/tags" Target="../tags/tag101.xml"/><Relationship Id="rId153" Type="http://schemas.openxmlformats.org/officeDocument/2006/relationships/tags" Target="../tags/tag122.xml"/><Relationship Id="rId15" Type="http://schemas.openxmlformats.org/officeDocument/2006/relationships/slideLayout" Target="../slideLayouts/slideLayout15.xml"/><Relationship Id="rId36" Type="http://schemas.openxmlformats.org/officeDocument/2006/relationships/tags" Target="../tags/tag5.xml"/><Relationship Id="rId57" Type="http://schemas.openxmlformats.org/officeDocument/2006/relationships/tags" Target="../tags/tag26.xml"/><Relationship Id="rId106" Type="http://schemas.openxmlformats.org/officeDocument/2006/relationships/tags" Target="../tags/tag75.xml"/><Relationship Id="rId127" Type="http://schemas.openxmlformats.org/officeDocument/2006/relationships/tags" Target="../tags/tag96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tags" Target="../tags/tag21.xml"/><Relationship Id="rId73" Type="http://schemas.openxmlformats.org/officeDocument/2006/relationships/tags" Target="../tags/tag42.xml"/><Relationship Id="rId78" Type="http://schemas.openxmlformats.org/officeDocument/2006/relationships/tags" Target="../tags/tag47.xml"/><Relationship Id="rId94" Type="http://schemas.openxmlformats.org/officeDocument/2006/relationships/tags" Target="../tags/tag63.xml"/><Relationship Id="rId99" Type="http://schemas.openxmlformats.org/officeDocument/2006/relationships/tags" Target="../tags/tag68.xml"/><Relationship Id="rId101" Type="http://schemas.openxmlformats.org/officeDocument/2006/relationships/tags" Target="../tags/tag70.xml"/><Relationship Id="rId122" Type="http://schemas.openxmlformats.org/officeDocument/2006/relationships/tags" Target="../tags/tag91.xml"/><Relationship Id="rId143" Type="http://schemas.openxmlformats.org/officeDocument/2006/relationships/tags" Target="../tags/tag112.xml"/><Relationship Id="rId148" Type="http://schemas.openxmlformats.org/officeDocument/2006/relationships/tags" Target="../tags/tag11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26" Type="http://schemas.openxmlformats.org/officeDocument/2006/relationships/slideLayout" Target="../slideLayouts/slideLayout26.xml"/><Relationship Id="rId47" Type="http://schemas.openxmlformats.org/officeDocument/2006/relationships/tags" Target="../tags/tag16.xml"/><Relationship Id="rId68" Type="http://schemas.openxmlformats.org/officeDocument/2006/relationships/tags" Target="../tags/tag37.xml"/><Relationship Id="rId89" Type="http://schemas.openxmlformats.org/officeDocument/2006/relationships/tags" Target="../tags/tag58.xml"/><Relationship Id="rId112" Type="http://schemas.openxmlformats.org/officeDocument/2006/relationships/tags" Target="../tags/tag81.xml"/><Relationship Id="rId133" Type="http://schemas.openxmlformats.org/officeDocument/2006/relationships/tags" Target="../tags/tag102.xml"/><Relationship Id="rId154" Type="http://schemas.openxmlformats.org/officeDocument/2006/relationships/tags" Target="../tags/tag123.xml"/><Relationship Id="rId16" Type="http://schemas.openxmlformats.org/officeDocument/2006/relationships/slideLayout" Target="../slideLayouts/slideLayout16.xml"/><Relationship Id="rId37" Type="http://schemas.openxmlformats.org/officeDocument/2006/relationships/tags" Target="../tags/tag6.xml"/><Relationship Id="rId58" Type="http://schemas.openxmlformats.org/officeDocument/2006/relationships/tags" Target="../tags/tag27.xml"/><Relationship Id="rId79" Type="http://schemas.openxmlformats.org/officeDocument/2006/relationships/tags" Target="../tags/tag48.xml"/><Relationship Id="rId102" Type="http://schemas.openxmlformats.org/officeDocument/2006/relationships/tags" Target="../tags/tag71.xml"/><Relationship Id="rId123" Type="http://schemas.openxmlformats.org/officeDocument/2006/relationships/tags" Target="../tags/tag92.xml"/><Relationship Id="rId144" Type="http://schemas.openxmlformats.org/officeDocument/2006/relationships/tags" Target="../tags/tag113.xml"/><Relationship Id="rId90" Type="http://schemas.openxmlformats.org/officeDocument/2006/relationships/tags" Target="../tags/tag59.xml"/><Relationship Id="rId27" Type="http://schemas.openxmlformats.org/officeDocument/2006/relationships/slideLayout" Target="../slideLayouts/slideLayout27.xml"/><Relationship Id="rId48" Type="http://schemas.openxmlformats.org/officeDocument/2006/relationships/tags" Target="../tags/tag17.xml"/><Relationship Id="rId69" Type="http://schemas.openxmlformats.org/officeDocument/2006/relationships/tags" Target="../tags/tag38.xml"/><Relationship Id="rId113" Type="http://schemas.openxmlformats.org/officeDocument/2006/relationships/tags" Target="../tags/tag82.xml"/><Relationship Id="rId134" Type="http://schemas.openxmlformats.org/officeDocument/2006/relationships/tags" Target="../tags/tag10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4.xml"/><Relationship Id="rId21" Type="http://schemas.openxmlformats.org/officeDocument/2006/relationships/tags" Target="../tags/tag128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image" Target="../media/image5.emf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oleObject" Target="../embeddings/oleObject4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53.xml"/><Relationship Id="rId21" Type="http://schemas.openxmlformats.org/officeDocument/2006/relationships/tags" Target="../tags/tag129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image" Target="../media/image5.emf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oleObject" Target="../embeddings/oleObject5.bin"/></Relationships>
</file>

<file path=ppt/slideMasters/_rels/slideMaster4.xml.rels><?xml version="1.0" encoding="UTF-8" standalone="yes"?>
<Relationships xmlns="http://schemas.openxmlformats.org/package/2006/relationships"><Relationship Id="rId117" Type="http://schemas.openxmlformats.org/officeDocument/2006/relationships/tags" Target="../tags/tag215.xml"/><Relationship Id="rId21" Type="http://schemas.openxmlformats.org/officeDocument/2006/relationships/slideLayout" Target="../slideLayouts/slideLayout90.xml"/><Relationship Id="rId42" Type="http://schemas.openxmlformats.org/officeDocument/2006/relationships/tags" Target="../tags/tag140.xml"/><Relationship Id="rId63" Type="http://schemas.openxmlformats.org/officeDocument/2006/relationships/tags" Target="../tags/tag161.xml"/><Relationship Id="rId84" Type="http://schemas.openxmlformats.org/officeDocument/2006/relationships/tags" Target="../tags/tag182.xml"/><Relationship Id="rId138" Type="http://schemas.openxmlformats.org/officeDocument/2006/relationships/tags" Target="../tags/tag236.xml"/><Relationship Id="rId107" Type="http://schemas.openxmlformats.org/officeDocument/2006/relationships/tags" Target="../tags/tag205.xml"/><Relationship Id="rId11" Type="http://schemas.openxmlformats.org/officeDocument/2006/relationships/slideLayout" Target="../slideLayouts/slideLayout80.xml"/><Relationship Id="rId32" Type="http://schemas.openxmlformats.org/officeDocument/2006/relationships/tags" Target="../tags/tag130.xml"/><Relationship Id="rId53" Type="http://schemas.openxmlformats.org/officeDocument/2006/relationships/tags" Target="../tags/tag151.xml"/><Relationship Id="rId74" Type="http://schemas.openxmlformats.org/officeDocument/2006/relationships/tags" Target="../tags/tag172.xml"/><Relationship Id="rId128" Type="http://schemas.openxmlformats.org/officeDocument/2006/relationships/tags" Target="../tags/tag226.xml"/><Relationship Id="rId149" Type="http://schemas.openxmlformats.org/officeDocument/2006/relationships/tags" Target="../tags/tag247.xml"/><Relationship Id="rId5" Type="http://schemas.openxmlformats.org/officeDocument/2006/relationships/slideLayout" Target="../slideLayouts/slideLayout74.xml"/><Relationship Id="rId95" Type="http://schemas.openxmlformats.org/officeDocument/2006/relationships/tags" Target="../tags/tag193.xml"/><Relationship Id="rId22" Type="http://schemas.openxmlformats.org/officeDocument/2006/relationships/slideLayout" Target="../slideLayouts/slideLayout91.xml"/><Relationship Id="rId43" Type="http://schemas.openxmlformats.org/officeDocument/2006/relationships/tags" Target="../tags/tag141.xml"/><Relationship Id="rId64" Type="http://schemas.openxmlformats.org/officeDocument/2006/relationships/tags" Target="../tags/tag162.xml"/><Relationship Id="rId118" Type="http://schemas.openxmlformats.org/officeDocument/2006/relationships/tags" Target="../tags/tag216.xml"/><Relationship Id="rId139" Type="http://schemas.openxmlformats.org/officeDocument/2006/relationships/tags" Target="../tags/tag237.xml"/><Relationship Id="rId80" Type="http://schemas.openxmlformats.org/officeDocument/2006/relationships/tags" Target="../tags/tag178.xml"/><Relationship Id="rId85" Type="http://schemas.openxmlformats.org/officeDocument/2006/relationships/tags" Target="../tags/tag183.xml"/><Relationship Id="rId150" Type="http://schemas.openxmlformats.org/officeDocument/2006/relationships/tags" Target="../tags/tag248.xml"/><Relationship Id="rId155" Type="http://schemas.openxmlformats.org/officeDocument/2006/relationships/tags" Target="../tags/tag253.xml"/><Relationship Id="rId12" Type="http://schemas.openxmlformats.org/officeDocument/2006/relationships/slideLayout" Target="../slideLayouts/slideLayout81.xml"/><Relationship Id="rId17" Type="http://schemas.openxmlformats.org/officeDocument/2006/relationships/slideLayout" Target="../slideLayouts/slideLayout86.xml"/><Relationship Id="rId33" Type="http://schemas.openxmlformats.org/officeDocument/2006/relationships/tags" Target="../tags/tag131.xml"/><Relationship Id="rId38" Type="http://schemas.openxmlformats.org/officeDocument/2006/relationships/tags" Target="../tags/tag136.xml"/><Relationship Id="rId59" Type="http://schemas.openxmlformats.org/officeDocument/2006/relationships/tags" Target="../tags/tag157.xml"/><Relationship Id="rId103" Type="http://schemas.openxmlformats.org/officeDocument/2006/relationships/tags" Target="../tags/tag201.xml"/><Relationship Id="rId108" Type="http://schemas.openxmlformats.org/officeDocument/2006/relationships/tags" Target="../tags/tag206.xml"/><Relationship Id="rId124" Type="http://schemas.openxmlformats.org/officeDocument/2006/relationships/tags" Target="../tags/tag222.xml"/><Relationship Id="rId129" Type="http://schemas.openxmlformats.org/officeDocument/2006/relationships/tags" Target="../tags/tag227.xml"/><Relationship Id="rId54" Type="http://schemas.openxmlformats.org/officeDocument/2006/relationships/tags" Target="../tags/tag152.xml"/><Relationship Id="rId70" Type="http://schemas.openxmlformats.org/officeDocument/2006/relationships/tags" Target="../tags/tag168.xml"/><Relationship Id="rId75" Type="http://schemas.openxmlformats.org/officeDocument/2006/relationships/tags" Target="../tags/tag173.xml"/><Relationship Id="rId91" Type="http://schemas.openxmlformats.org/officeDocument/2006/relationships/tags" Target="../tags/tag189.xml"/><Relationship Id="rId96" Type="http://schemas.openxmlformats.org/officeDocument/2006/relationships/tags" Target="../tags/tag194.xml"/><Relationship Id="rId140" Type="http://schemas.openxmlformats.org/officeDocument/2006/relationships/tags" Target="../tags/tag238.xml"/><Relationship Id="rId145" Type="http://schemas.openxmlformats.org/officeDocument/2006/relationships/tags" Target="../tags/tag243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23" Type="http://schemas.openxmlformats.org/officeDocument/2006/relationships/slideLayout" Target="../slideLayouts/slideLayout92.xml"/><Relationship Id="rId28" Type="http://schemas.openxmlformats.org/officeDocument/2006/relationships/slideLayout" Target="../slideLayouts/slideLayout97.xml"/><Relationship Id="rId49" Type="http://schemas.openxmlformats.org/officeDocument/2006/relationships/tags" Target="../tags/tag147.xml"/><Relationship Id="rId114" Type="http://schemas.openxmlformats.org/officeDocument/2006/relationships/tags" Target="../tags/tag212.xml"/><Relationship Id="rId119" Type="http://schemas.openxmlformats.org/officeDocument/2006/relationships/tags" Target="../tags/tag217.xml"/><Relationship Id="rId44" Type="http://schemas.openxmlformats.org/officeDocument/2006/relationships/tags" Target="../tags/tag142.xml"/><Relationship Id="rId60" Type="http://schemas.openxmlformats.org/officeDocument/2006/relationships/tags" Target="../tags/tag158.xml"/><Relationship Id="rId65" Type="http://schemas.openxmlformats.org/officeDocument/2006/relationships/tags" Target="../tags/tag163.xml"/><Relationship Id="rId81" Type="http://schemas.openxmlformats.org/officeDocument/2006/relationships/tags" Target="../tags/tag179.xml"/><Relationship Id="rId86" Type="http://schemas.openxmlformats.org/officeDocument/2006/relationships/tags" Target="../tags/tag184.xml"/><Relationship Id="rId130" Type="http://schemas.openxmlformats.org/officeDocument/2006/relationships/tags" Target="../tags/tag228.xml"/><Relationship Id="rId135" Type="http://schemas.openxmlformats.org/officeDocument/2006/relationships/tags" Target="../tags/tag233.xml"/><Relationship Id="rId151" Type="http://schemas.openxmlformats.org/officeDocument/2006/relationships/tags" Target="../tags/tag249.xml"/><Relationship Id="rId156" Type="http://schemas.openxmlformats.org/officeDocument/2006/relationships/oleObject" Target="../embeddings/oleObject6.bin"/><Relationship Id="rId13" Type="http://schemas.openxmlformats.org/officeDocument/2006/relationships/slideLayout" Target="../slideLayouts/slideLayout82.xml"/><Relationship Id="rId18" Type="http://schemas.openxmlformats.org/officeDocument/2006/relationships/slideLayout" Target="../slideLayouts/slideLayout87.xml"/><Relationship Id="rId39" Type="http://schemas.openxmlformats.org/officeDocument/2006/relationships/tags" Target="../tags/tag137.xml"/><Relationship Id="rId109" Type="http://schemas.openxmlformats.org/officeDocument/2006/relationships/tags" Target="../tags/tag207.xml"/><Relationship Id="rId34" Type="http://schemas.openxmlformats.org/officeDocument/2006/relationships/tags" Target="../tags/tag132.xml"/><Relationship Id="rId50" Type="http://schemas.openxmlformats.org/officeDocument/2006/relationships/tags" Target="../tags/tag148.xml"/><Relationship Id="rId55" Type="http://schemas.openxmlformats.org/officeDocument/2006/relationships/tags" Target="../tags/tag153.xml"/><Relationship Id="rId76" Type="http://schemas.openxmlformats.org/officeDocument/2006/relationships/tags" Target="../tags/tag174.xml"/><Relationship Id="rId97" Type="http://schemas.openxmlformats.org/officeDocument/2006/relationships/tags" Target="../tags/tag195.xml"/><Relationship Id="rId104" Type="http://schemas.openxmlformats.org/officeDocument/2006/relationships/tags" Target="../tags/tag202.xml"/><Relationship Id="rId120" Type="http://schemas.openxmlformats.org/officeDocument/2006/relationships/tags" Target="../tags/tag218.xml"/><Relationship Id="rId125" Type="http://schemas.openxmlformats.org/officeDocument/2006/relationships/tags" Target="../tags/tag223.xml"/><Relationship Id="rId141" Type="http://schemas.openxmlformats.org/officeDocument/2006/relationships/tags" Target="../tags/tag239.xml"/><Relationship Id="rId146" Type="http://schemas.openxmlformats.org/officeDocument/2006/relationships/tags" Target="../tags/tag244.xml"/><Relationship Id="rId7" Type="http://schemas.openxmlformats.org/officeDocument/2006/relationships/slideLayout" Target="../slideLayouts/slideLayout76.xml"/><Relationship Id="rId71" Type="http://schemas.openxmlformats.org/officeDocument/2006/relationships/tags" Target="../tags/tag169.xml"/><Relationship Id="rId92" Type="http://schemas.openxmlformats.org/officeDocument/2006/relationships/tags" Target="../tags/tag190.xml"/><Relationship Id="rId2" Type="http://schemas.openxmlformats.org/officeDocument/2006/relationships/slideLayout" Target="../slideLayouts/slideLayout71.xml"/><Relationship Id="rId29" Type="http://schemas.openxmlformats.org/officeDocument/2006/relationships/slideLayout" Target="../slideLayouts/slideLayout98.xml"/><Relationship Id="rId24" Type="http://schemas.openxmlformats.org/officeDocument/2006/relationships/slideLayout" Target="../slideLayouts/slideLayout93.xml"/><Relationship Id="rId40" Type="http://schemas.openxmlformats.org/officeDocument/2006/relationships/tags" Target="../tags/tag138.xml"/><Relationship Id="rId45" Type="http://schemas.openxmlformats.org/officeDocument/2006/relationships/tags" Target="../tags/tag143.xml"/><Relationship Id="rId66" Type="http://schemas.openxmlformats.org/officeDocument/2006/relationships/tags" Target="../tags/tag164.xml"/><Relationship Id="rId87" Type="http://schemas.openxmlformats.org/officeDocument/2006/relationships/tags" Target="../tags/tag185.xml"/><Relationship Id="rId110" Type="http://schemas.openxmlformats.org/officeDocument/2006/relationships/tags" Target="../tags/tag208.xml"/><Relationship Id="rId115" Type="http://schemas.openxmlformats.org/officeDocument/2006/relationships/tags" Target="../tags/tag213.xml"/><Relationship Id="rId131" Type="http://schemas.openxmlformats.org/officeDocument/2006/relationships/tags" Target="../tags/tag229.xml"/><Relationship Id="rId136" Type="http://schemas.openxmlformats.org/officeDocument/2006/relationships/tags" Target="../tags/tag234.xml"/><Relationship Id="rId157" Type="http://schemas.openxmlformats.org/officeDocument/2006/relationships/image" Target="../media/image1.emf"/><Relationship Id="rId61" Type="http://schemas.openxmlformats.org/officeDocument/2006/relationships/tags" Target="../tags/tag159.xml"/><Relationship Id="rId82" Type="http://schemas.openxmlformats.org/officeDocument/2006/relationships/tags" Target="../tags/tag180.xml"/><Relationship Id="rId152" Type="http://schemas.openxmlformats.org/officeDocument/2006/relationships/tags" Target="../tags/tag250.xml"/><Relationship Id="rId1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83.xml"/><Relationship Id="rId30" Type="http://schemas.openxmlformats.org/officeDocument/2006/relationships/slideLayout" Target="../slideLayouts/slideLayout99.xml"/><Relationship Id="rId35" Type="http://schemas.openxmlformats.org/officeDocument/2006/relationships/tags" Target="../tags/tag133.xml"/><Relationship Id="rId56" Type="http://schemas.openxmlformats.org/officeDocument/2006/relationships/tags" Target="../tags/tag154.xml"/><Relationship Id="rId77" Type="http://schemas.openxmlformats.org/officeDocument/2006/relationships/tags" Target="../tags/tag175.xml"/><Relationship Id="rId100" Type="http://schemas.openxmlformats.org/officeDocument/2006/relationships/tags" Target="../tags/tag198.xml"/><Relationship Id="rId105" Type="http://schemas.openxmlformats.org/officeDocument/2006/relationships/tags" Target="../tags/tag203.xml"/><Relationship Id="rId126" Type="http://schemas.openxmlformats.org/officeDocument/2006/relationships/tags" Target="../tags/tag224.xml"/><Relationship Id="rId147" Type="http://schemas.openxmlformats.org/officeDocument/2006/relationships/tags" Target="../tags/tag245.xml"/><Relationship Id="rId8" Type="http://schemas.openxmlformats.org/officeDocument/2006/relationships/slideLayout" Target="../slideLayouts/slideLayout77.xml"/><Relationship Id="rId51" Type="http://schemas.openxmlformats.org/officeDocument/2006/relationships/tags" Target="../tags/tag149.xml"/><Relationship Id="rId72" Type="http://schemas.openxmlformats.org/officeDocument/2006/relationships/tags" Target="../tags/tag170.xml"/><Relationship Id="rId93" Type="http://schemas.openxmlformats.org/officeDocument/2006/relationships/tags" Target="../tags/tag191.xml"/><Relationship Id="rId98" Type="http://schemas.openxmlformats.org/officeDocument/2006/relationships/tags" Target="../tags/tag196.xml"/><Relationship Id="rId121" Type="http://schemas.openxmlformats.org/officeDocument/2006/relationships/tags" Target="../tags/tag219.xml"/><Relationship Id="rId142" Type="http://schemas.openxmlformats.org/officeDocument/2006/relationships/tags" Target="../tags/tag240.xml"/><Relationship Id="rId3" Type="http://schemas.openxmlformats.org/officeDocument/2006/relationships/slideLayout" Target="../slideLayouts/slideLayout72.xml"/><Relationship Id="rId25" Type="http://schemas.openxmlformats.org/officeDocument/2006/relationships/slideLayout" Target="../slideLayouts/slideLayout94.xml"/><Relationship Id="rId46" Type="http://schemas.openxmlformats.org/officeDocument/2006/relationships/tags" Target="../tags/tag144.xml"/><Relationship Id="rId67" Type="http://schemas.openxmlformats.org/officeDocument/2006/relationships/tags" Target="../tags/tag165.xml"/><Relationship Id="rId116" Type="http://schemas.openxmlformats.org/officeDocument/2006/relationships/tags" Target="../tags/tag214.xml"/><Relationship Id="rId137" Type="http://schemas.openxmlformats.org/officeDocument/2006/relationships/tags" Target="../tags/tag235.xml"/><Relationship Id="rId20" Type="http://schemas.openxmlformats.org/officeDocument/2006/relationships/slideLayout" Target="../slideLayouts/slideLayout89.xml"/><Relationship Id="rId41" Type="http://schemas.openxmlformats.org/officeDocument/2006/relationships/tags" Target="../tags/tag139.xml"/><Relationship Id="rId62" Type="http://schemas.openxmlformats.org/officeDocument/2006/relationships/tags" Target="../tags/tag160.xml"/><Relationship Id="rId83" Type="http://schemas.openxmlformats.org/officeDocument/2006/relationships/tags" Target="../tags/tag181.xml"/><Relationship Id="rId88" Type="http://schemas.openxmlformats.org/officeDocument/2006/relationships/tags" Target="../tags/tag186.xml"/><Relationship Id="rId111" Type="http://schemas.openxmlformats.org/officeDocument/2006/relationships/tags" Target="../tags/tag209.xml"/><Relationship Id="rId132" Type="http://schemas.openxmlformats.org/officeDocument/2006/relationships/tags" Target="../tags/tag230.xml"/><Relationship Id="rId153" Type="http://schemas.openxmlformats.org/officeDocument/2006/relationships/tags" Target="../tags/tag251.xml"/><Relationship Id="rId15" Type="http://schemas.openxmlformats.org/officeDocument/2006/relationships/slideLayout" Target="../slideLayouts/slideLayout84.xml"/><Relationship Id="rId36" Type="http://schemas.openxmlformats.org/officeDocument/2006/relationships/tags" Target="../tags/tag134.xml"/><Relationship Id="rId57" Type="http://schemas.openxmlformats.org/officeDocument/2006/relationships/tags" Target="../tags/tag155.xml"/><Relationship Id="rId106" Type="http://schemas.openxmlformats.org/officeDocument/2006/relationships/tags" Target="../tags/tag204.xml"/><Relationship Id="rId127" Type="http://schemas.openxmlformats.org/officeDocument/2006/relationships/tags" Target="../tags/tag225.xml"/><Relationship Id="rId10" Type="http://schemas.openxmlformats.org/officeDocument/2006/relationships/slideLayout" Target="../slideLayouts/slideLayout79.xml"/><Relationship Id="rId31" Type="http://schemas.openxmlformats.org/officeDocument/2006/relationships/theme" Target="../theme/theme4.xml"/><Relationship Id="rId52" Type="http://schemas.openxmlformats.org/officeDocument/2006/relationships/tags" Target="../tags/tag150.xml"/><Relationship Id="rId73" Type="http://schemas.openxmlformats.org/officeDocument/2006/relationships/tags" Target="../tags/tag171.xml"/><Relationship Id="rId78" Type="http://schemas.openxmlformats.org/officeDocument/2006/relationships/tags" Target="../tags/tag176.xml"/><Relationship Id="rId94" Type="http://schemas.openxmlformats.org/officeDocument/2006/relationships/tags" Target="../tags/tag192.xml"/><Relationship Id="rId99" Type="http://schemas.openxmlformats.org/officeDocument/2006/relationships/tags" Target="../tags/tag197.xml"/><Relationship Id="rId101" Type="http://schemas.openxmlformats.org/officeDocument/2006/relationships/tags" Target="../tags/tag199.xml"/><Relationship Id="rId122" Type="http://schemas.openxmlformats.org/officeDocument/2006/relationships/tags" Target="../tags/tag220.xml"/><Relationship Id="rId143" Type="http://schemas.openxmlformats.org/officeDocument/2006/relationships/tags" Target="../tags/tag241.xml"/><Relationship Id="rId148" Type="http://schemas.openxmlformats.org/officeDocument/2006/relationships/tags" Target="../tags/tag246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26" Type="http://schemas.openxmlformats.org/officeDocument/2006/relationships/slideLayout" Target="../slideLayouts/slideLayout95.xml"/><Relationship Id="rId47" Type="http://schemas.openxmlformats.org/officeDocument/2006/relationships/tags" Target="../tags/tag145.xml"/><Relationship Id="rId68" Type="http://schemas.openxmlformats.org/officeDocument/2006/relationships/tags" Target="../tags/tag166.xml"/><Relationship Id="rId89" Type="http://schemas.openxmlformats.org/officeDocument/2006/relationships/tags" Target="../tags/tag187.xml"/><Relationship Id="rId112" Type="http://schemas.openxmlformats.org/officeDocument/2006/relationships/tags" Target="../tags/tag210.xml"/><Relationship Id="rId133" Type="http://schemas.openxmlformats.org/officeDocument/2006/relationships/tags" Target="../tags/tag231.xml"/><Relationship Id="rId154" Type="http://schemas.openxmlformats.org/officeDocument/2006/relationships/tags" Target="../tags/tag252.xml"/><Relationship Id="rId16" Type="http://schemas.openxmlformats.org/officeDocument/2006/relationships/slideLayout" Target="../slideLayouts/slideLayout85.xml"/><Relationship Id="rId37" Type="http://schemas.openxmlformats.org/officeDocument/2006/relationships/tags" Target="../tags/tag135.xml"/><Relationship Id="rId58" Type="http://schemas.openxmlformats.org/officeDocument/2006/relationships/tags" Target="../tags/tag156.xml"/><Relationship Id="rId79" Type="http://schemas.openxmlformats.org/officeDocument/2006/relationships/tags" Target="../tags/tag177.xml"/><Relationship Id="rId102" Type="http://schemas.openxmlformats.org/officeDocument/2006/relationships/tags" Target="../tags/tag200.xml"/><Relationship Id="rId123" Type="http://schemas.openxmlformats.org/officeDocument/2006/relationships/tags" Target="../tags/tag221.xml"/><Relationship Id="rId144" Type="http://schemas.openxmlformats.org/officeDocument/2006/relationships/tags" Target="../tags/tag242.xml"/><Relationship Id="rId90" Type="http://schemas.openxmlformats.org/officeDocument/2006/relationships/tags" Target="../tags/tag188.xml"/><Relationship Id="rId27" Type="http://schemas.openxmlformats.org/officeDocument/2006/relationships/slideLayout" Target="../slideLayouts/slideLayout96.xml"/><Relationship Id="rId48" Type="http://schemas.openxmlformats.org/officeDocument/2006/relationships/tags" Target="../tags/tag146.xml"/><Relationship Id="rId69" Type="http://schemas.openxmlformats.org/officeDocument/2006/relationships/tags" Target="../tags/tag167.xml"/><Relationship Id="rId113" Type="http://schemas.openxmlformats.org/officeDocument/2006/relationships/tags" Target="../tags/tag211.xml"/><Relationship Id="rId134" Type="http://schemas.openxmlformats.org/officeDocument/2006/relationships/tags" Target="../tags/tag2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" name="think-cell data - do not delete" hidden="1">
            <a:extLst>
              <a:ext uri="{FF2B5EF4-FFF2-40B4-BE49-F238E27FC236}">
                <a16:creationId xmlns:a16="http://schemas.microsoft.com/office/drawing/2014/main" id="{42380D68-F00C-BE6C-A1F0-DAEA038F31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713992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7" imgW="306" imgH="306" progId="TCLayout.ActiveDocument.1">
                  <p:embed/>
                </p:oleObj>
              </mc:Choice>
              <mc:Fallback>
                <p:oleObj name="think-cell Slide" r:id="rId157" imgW="306" imgH="306" progId="TCLayout.ActiveDocument.1">
                  <p:embed/>
                  <p:pic>
                    <p:nvPicPr>
                      <p:cNvPr id="1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380D68-F00C-BE6C-A1F0-DAEA038F3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57293E41-954C-9E9C-7DE2-32FEDBD5A1C6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4" name="Slide number"/>
          <p:cNvSpPr txBox="1"/>
          <p:nvPr userDrawn="1"/>
        </p:nvSpPr>
        <p:spPr bwMode="black">
          <a:xfrm>
            <a:off x="11546207" y="6536751"/>
            <a:ext cx="14427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b="0" i="0" noProof="0" smtClean="0">
                <a:latin typeface="+mn-lt"/>
              </a:rPr>
              <a:pPr marL="0" lvl="0" indent="0" algn="r">
                <a:buNone/>
              </a:pPr>
              <a:t>‹Nr.›</a:t>
            </a:fld>
            <a:endParaRPr lang="en-US" sz="900" b="0" i="0" noProof="0">
              <a:latin typeface="+mn-lt"/>
            </a:endParaRP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54856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34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5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35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36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37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0" i="0" kern="0"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A720E741-89F4-5512-1D96-1B5460C1166D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3408294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80" r:id="rId2"/>
    <p:sldLayoutId id="2147483787" r:id="rId3"/>
    <p:sldLayoutId id="2147483777" r:id="rId4"/>
    <p:sldLayoutId id="2147483788" r:id="rId5"/>
    <p:sldLayoutId id="2147483789" r:id="rId6"/>
    <p:sldLayoutId id="2147483790" r:id="rId7"/>
    <p:sldLayoutId id="2147483791" r:id="rId8"/>
    <p:sldLayoutId id="2147483793" r:id="rId9"/>
    <p:sldLayoutId id="2147483794" r:id="rId10"/>
    <p:sldLayoutId id="2147483741" r:id="rId11"/>
    <p:sldLayoutId id="2147483765" r:id="rId12"/>
    <p:sldLayoutId id="2147483767" r:id="rId13"/>
    <p:sldLayoutId id="2147483786" r:id="rId14"/>
    <p:sldLayoutId id="2147483743" r:id="rId15"/>
    <p:sldLayoutId id="2147483774" r:id="rId16"/>
    <p:sldLayoutId id="2147483745" r:id="rId17"/>
    <p:sldLayoutId id="2147483760" r:id="rId18"/>
    <p:sldLayoutId id="2147483768" r:id="rId19"/>
    <p:sldLayoutId id="2147483769" r:id="rId20"/>
    <p:sldLayoutId id="2147483770" r:id="rId21"/>
    <p:sldLayoutId id="2147483744" r:id="rId22"/>
    <p:sldLayoutId id="2147483757" r:id="rId23"/>
    <p:sldLayoutId id="2147483771" r:id="rId24"/>
    <p:sldLayoutId id="2147483763" r:id="rId25"/>
    <p:sldLayoutId id="2147483751" r:id="rId26"/>
    <p:sldLayoutId id="2147483756" r:id="rId27"/>
    <p:sldLayoutId id="2147483740" r:id="rId28"/>
    <p:sldLayoutId id="2147483874" r:id="rId29"/>
    <p:sldLayoutId id="2147483876" r:id="rId30"/>
    <p:sldLayoutId id="2147483877" r:id="rId31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0" i="0" kern="1200" baseline="0">
          <a:solidFill>
            <a:schemeClr val="tx1"/>
          </a:solidFill>
          <a:latin typeface="72 Brand Medium" panose="020B0504030603020204" pitchFamily="34" charset="0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Tx/>
        <a:buSzPct val="80000"/>
        <a:buFont typeface="Roboto" panose="02000000000000000000" pitchFamily="2" charset="0"/>
        <a:buChar char="​"/>
        <a:defRPr sz="20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b="0" i="0" kern="1200" noProof="0" dirty="0" smtClean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80000"/>
        <a:buFont typeface="Courier New" panose="02070309020205020404" pitchFamily="49" charset="0"/>
        <a:buChar char="o"/>
        <a:defRPr sz="16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b="0" i="0" kern="1200" baseline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DADA95-CE93-7FBA-4AA8-2B6704A43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94264451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04" imgH="405" progId="TCLayout.ActiveDocument.1">
                  <p:embed/>
                </p:oleObj>
              </mc:Choice>
              <mc:Fallback>
                <p:oleObj name="think-cell Slide" r:id="rId22" imgW="404" imgH="40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DADA95-CE93-7FBA-4AA8-2B6704A43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8DD38F-4A35-4671-BE35-E2D589FC833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9116" y="469640"/>
            <a:ext cx="11020119" cy="55403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27" name="Text Placeholder 3">
            <a:extLst>
              <a:ext uri="{FF2B5EF4-FFF2-40B4-BE49-F238E27FC236}">
                <a16:creationId xmlns:a16="http://schemas.microsoft.com/office/drawing/2014/main" id="{C506EEC7-28C3-447D-A092-08572597C259}"/>
              </a:ext>
            </a:extLst>
          </p:cNvPr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84352" y="1435100"/>
            <a:ext cx="11021707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1028" name="GRID" hidden="1">
            <a:extLst>
              <a:ext uri="{FF2B5EF4-FFF2-40B4-BE49-F238E27FC236}">
                <a16:creationId xmlns:a16="http://schemas.microsoft.com/office/drawing/2014/main" id="{A2A9D185-79AB-4AD0-89DA-D60F0C62253C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5175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3E11977-8CF9-485D-ACE5-33EEB0D46437}"/>
                </a:ext>
              </a:extLst>
            </p:cNvPr>
            <p:cNvCxnSpPr/>
            <p:nvPr/>
          </p:nvCxnSpPr>
          <p:spPr>
            <a:xfrm>
              <a:off x="0" y="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FBB5E38-506A-44DD-A315-56E157E16AF0}"/>
                </a:ext>
              </a:extLst>
            </p:cNvPr>
            <p:cNvCxnSpPr/>
            <p:nvPr/>
          </p:nvCxnSpPr>
          <p:spPr>
            <a:xfrm>
              <a:off x="0" y="2921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0CB70-5AC0-476B-AA40-C2241BEB8DFF}"/>
                </a:ext>
              </a:extLst>
            </p:cNvPr>
            <p:cNvCxnSpPr/>
            <p:nvPr/>
          </p:nvCxnSpPr>
          <p:spPr>
            <a:xfrm>
              <a:off x="0" y="585788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ACEF339-045A-4996-8036-3371D72B7792}"/>
                </a:ext>
              </a:extLst>
            </p:cNvPr>
            <p:cNvCxnSpPr/>
            <p:nvPr/>
          </p:nvCxnSpPr>
          <p:spPr>
            <a:xfrm>
              <a:off x="0" y="6272213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BCC50FD-86C8-42F8-9D68-7DADB5458B31}"/>
                </a:ext>
              </a:extLst>
            </p:cNvPr>
            <p:cNvCxnSpPr/>
            <p:nvPr/>
          </p:nvCxnSpPr>
          <p:spPr>
            <a:xfrm>
              <a:off x="0" y="65659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D4A581-DE57-4A63-996B-BE800760E15C}"/>
                </a:ext>
              </a:extLst>
            </p:cNvPr>
            <p:cNvCxnSpPr/>
            <p:nvPr/>
          </p:nvCxnSpPr>
          <p:spPr>
            <a:xfrm>
              <a:off x="0" y="68580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ABA573-5574-4F8A-A22B-83348FDE631E}"/>
                </a:ext>
              </a:extLst>
            </p:cNvPr>
            <p:cNvCxnSpPr/>
            <p:nvPr/>
          </p:nvCxnSpPr>
          <p:spPr>
            <a:xfrm>
              <a:off x="0" y="8778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00EC732-F52C-4DCC-969C-5C03983A6864}"/>
                </a:ext>
              </a:extLst>
            </p:cNvPr>
            <p:cNvCxnSpPr/>
            <p:nvPr/>
          </p:nvCxnSpPr>
          <p:spPr>
            <a:xfrm>
              <a:off x="0" y="11699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1970F0B-BC66-48A4-AFE3-81E6AD0DF714}"/>
                </a:ext>
              </a:extLst>
            </p:cNvPr>
            <p:cNvCxnSpPr/>
            <p:nvPr/>
          </p:nvCxnSpPr>
          <p:spPr>
            <a:xfrm>
              <a:off x="0" y="14636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18F09C-04FE-456E-B005-DCF9AD18BDE2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29FE731-4088-4B63-9BDA-0CECFD8FE6BF}"/>
                </a:ext>
              </a:extLst>
            </p:cNvPr>
            <p:cNvCxnSpPr/>
            <p:nvPr/>
          </p:nvCxnSpPr>
          <p:spPr>
            <a:xfrm>
              <a:off x="585788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232B1C-BA17-47D7-8EC4-A6FA94639357}"/>
                </a:ext>
              </a:extLst>
            </p:cNvPr>
            <p:cNvCxnSpPr/>
            <p:nvPr/>
          </p:nvCxnSpPr>
          <p:spPr>
            <a:xfrm>
              <a:off x="2921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C0B7A88-07B8-4006-83A4-9775E56330FC}"/>
                </a:ext>
              </a:extLst>
            </p:cNvPr>
            <p:cNvCxnSpPr/>
            <p:nvPr/>
          </p:nvCxnSpPr>
          <p:spPr>
            <a:xfrm>
              <a:off x="8778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95DC405-8389-4A07-9075-49586FC5C38A}"/>
                </a:ext>
              </a:extLst>
            </p:cNvPr>
            <p:cNvCxnSpPr/>
            <p:nvPr/>
          </p:nvCxnSpPr>
          <p:spPr>
            <a:xfrm>
              <a:off x="11699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98523BC-FB5E-4A17-8196-29101995A258}"/>
                </a:ext>
              </a:extLst>
            </p:cNvPr>
            <p:cNvCxnSpPr/>
            <p:nvPr/>
          </p:nvCxnSpPr>
          <p:spPr>
            <a:xfrm>
              <a:off x="110220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CD9206-271F-48E7-BF40-5D3BA0E55523}"/>
                </a:ext>
              </a:extLst>
            </p:cNvPr>
            <p:cNvCxnSpPr/>
            <p:nvPr/>
          </p:nvCxnSpPr>
          <p:spPr>
            <a:xfrm>
              <a:off x="11606213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29F7B5-876C-4712-8DC6-7CADEB1A6132}"/>
                </a:ext>
              </a:extLst>
            </p:cNvPr>
            <p:cNvCxnSpPr/>
            <p:nvPr/>
          </p:nvCxnSpPr>
          <p:spPr>
            <a:xfrm>
              <a:off x="113141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4EA0CCB-1F5D-4570-AA71-CDC176FF7307}"/>
                </a:ext>
              </a:extLst>
            </p:cNvPr>
            <p:cNvCxnSpPr/>
            <p:nvPr/>
          </p:nvCxnSpPr>
          <p:spPr>
            <a:xfrm>
              <a:off x="118999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D24AB1E-218C-429C-B96B-6F40E2E367C5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4BACA4F-5C8E-4A1D-A2F2-2B9C468C19AB}"/>
                </a:ext>
              </a:extLst>
            </p:cNvPr>
            <p:cNvCxnSpPr/>
            <p:nvPr/>
          </p:nvCxnSpPr>
          <p:spPr>
            <a:xfrm>
              <a:off x="0" y="17557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8D1FD41-F515-4223-9316-CF49B10CA595}"/>
                </a:ext>
              </a:extLst>
            </p:cNvPr>
            <p:cNvCxnSpPr/>
            <p:nvPr/>
          </p:nvCxnSpPr>
          <p:spPr>
            <a:xfrm>
              <a:off x="0" y="20478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CF3AD4F-5C51-48A8-90BA-A2B91CD10C8B}"/>
                </a:ext>
              </a:extLst>
            </p:cNvPr>
            <p:cNvCxnSpPr/>
            <p:nvPr/>
          </p:nvCxnSpPr>
          <p:spPr>
            <a:xfrm>
              <a:off x="0" y="23415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D0521A3-05EF-4F79-8505-9E2B2C339477}"/>
                </a:ext>
              </a:extLst>
            </p:cNvPr>
            <p:cNvCxnSpPr/>
            <p:nvPr/>
          </p:nvCxnSpPr>
          <p:spPr>
            <a:xfrm>
              <a:off x="0" y="26336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8810284-E24B-4D8D-BF44-856187577D2E}"/>
                </a:ext>
              </a:extLst>
            </p:cNvPr>
            <p:cNvCxnSpPr/>
            <p:nvPr/>
          </p:nvCxnSpPr>
          <p:spPr>
            <a:xfrm>
              <a:off x="0" y="29257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9626754-7ED6-4733-A6F7-0E45D9C47A48}"/>
                </a:ext>
              </a:extLst>
            </p:cNvPr>
            <p:cNvCxnSpPr/>
            <p:nvPr/>
          </p:nvCxnSpPr>
          <p:spPr>
            <a:xfrm>
              <a:off x="0" y="32194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F52ADDF-24EC-47E3-83F8-3918E93DE11D}"/>
                </a:ext>
              </a:extLst>
            </p:cNvPr>
            <p:cNvCxnSpPr/>
            <p:nvPr/>
          </p:nvCxnSpPr>
          <p:spPr>
            <a:xfrm>
              <a:off x="0" y="35115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80AE4D0A-1497-4DA2-88D3-3815D6D31063}"/>
                </a:ext>
              </a:extLst>
            </p:cNvPr>
            <p:cNvCxnSpPr/>
            <p:nvPr/>
          </p:nvCxnSpPr>
          <p:spPr>
            <a:xfrm>
              <a:off x="0" y="38036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BDC60C3-9A65-4C10-AECB-C4427D8D5D31}"/>
                </a:ext>
              </a:extLst>
            </p:cNvPr>
            <p:cNvCxnSpPr/>
            <p:nvPr/>
          </p:nvCxnSpPr>
          <p:spPr>
            <a:xfrm>
              <a:off x="0" y="40957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9FB55BF-AEB3-4AB1-B936-CBBF4162DAD5}"/>
                </a:ext>
              </a:extLst>
            </p:cNvPr>
            <p:cNvCxnSpPr/>
            <p:nvPr/>
          </p:nvCxnSpPr>
          <p:spPr>
            <a:xfrm>
              <a:off x="0" y="43894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1890F9C-92E3-48D3-B57D-EF175EC62B01}"/>
                </a:ext>
              </a:extLst>
            </p:cNvPr>
            <p:cNvCxnSpPr/>
            <p:nvPr/>
          </p:nvCxnSpPr>
          <p:spPr>
            <a:xfrm>
              <a:off x="0" y="46815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66EE5B9-25FA-4221-91A5-6C39DC942699}"/>
                </a:ext>
              </a:extLst>
            </p:cNvPr>
            <p:cNvCxnSpPr/>
            <p:nvPr/>
          </p:nvCxnSpPr>
          <p:spPr>
            <a:xfrm>
              <a:off x="0" y="49736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FA7A0E3-84C0-4C49-BE98-62AF2F82E299}"/>
                </a:ext>
              </a:extLst>
            </p:cNvPr>
            <p:cNvCxnSpPr/>
            <p:nvPr/>
          </p:nvCxnSpPr>
          <p:spPr>
            <a:xfrm>
              <a:off x="0" y="52673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93ACC3E-E2E4-4C54-8203-100979D0BA58}"/>
                </a:ext>
              </a:extLst>
            </p:cNvPr>
            <p:cNvCxnSpPr/>
            <p:nvPr/>
          </p:nvCxnSpPr>
          <p:spPr>
            <a:xfrm>
              <a:off x="0" y="55594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31AC7C3-0670-4E5F-863D-1A6F8AA689A9}"/>
                </a:ext>
              </a:extLst>
            </p:cNvPr>
            <p:cNvCxnSpPr/>
            <p:nvPr/>
          </p:nvCxnSpPr>
          <p:spPr>
            <a:xfrm>
              <a:off x="0" y="58515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A8AF3FCD-9C81-4FDC-B538-783D0C0F93B7}"/>
              </a:ext>
            </a:extLst>
          </p:cNvPr>
          <p:cNvSpPr/>
          <p:nvPr/>
        </p:nvSpPr>
        <p:spPr bwMode="auto">
          <a:xfrm>
            <a:off x="0" y="0"/>
            <a:ext cx="585941" cy="58578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33EF2950-F2B6-4DD3-A9C0-1CF8A171AA34}"/>
              </a:ext>
            </a:extLst>
          </p:cNvPr>
          <p:cNvSpPr/>
          <p:nvPr/>
        </p:nvSpPr>
        <p:spPr bwMode="auto">
          <a:xfrm>
            <a:off x="0" y="0"/>
            <a:ext cx="292176" cy="29210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0" name="Group 49" hidden="1">
            <a:extLst>
              <a:ext uri="{FF2B5EF4-FFF2-40B4-BE49-F238E27FC236}">
                <a16:creationId xmlns:a16="http://schemas.microsoft.com/office/drawing/2014/main" id="{CF3FA4BD-32C9-4A0E-A7B2-52453FFD146E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D14555E9-BE86-4E51-8046-561BE50ED1B7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D6509AF5-A4AA-4A63-BA43-F8D4BB72E871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94C82971-7C3E-4EED-BC20-8DA04C1F60C4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5B5FC1B7-D4CB-44E9-886A-8EF400A1EE15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699D719B-AC81-423C-8565-C830988B8B26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80FD7A5-EF72-40C7-A255-50A927D2F85F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FA2651D8-3304-4065-A858-0B0D06396DC3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BD60FE52-DD0E-4CE7-9889-F4D8670ABD64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52C126FB-9763-4157-AD1D-93D1AA2DDB7B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DAE68EE8-9769-4655-829C-9A70533EA38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49B6813-D843-41DC-9D68-DA1A3B91C899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9DDA07BA-B624-4B9F-9C70-A1A9B81A7CD6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9FE03F51-5C12-4652-B1D3-0201DFC8F73E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40B943D4-0132-4ED7-8163-E68844D68CDD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C872454E-FC8C-4836-A901-2AC1314B5E5B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8254FAC-35FC-4C6F-ABC0-12EE47C9273D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FAAC91DE-80CB-478B-A575-0D1968119AD1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4AE77872-2DF3-48E6-8D8B-D76DE8EF15CE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BFDF6C7D-44EA-4239-BF0B-8228D2C2F606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927D3FED-B46A-4A2C-A44B-D4D19A008B66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5D595194-0969-4924-9757-94D9B7D058A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D781E367-B51E-47B9-9A6A-53D950A154AB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719CCF5-DF53-443B-96D3-6820C32CECC1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3B3ABF3C-98CA-4476-B23A-D2E617DB69F0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67ED3975-B756-4240-A0E0-3E87567CF30A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157520BE-A8AA-4C12-A21D-929D071F7D8A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8DE1E397-8822-47C6-9A8C-63CAB6A5A23F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2440505-9DC4-42FE-BA6D-2C99A98AF218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359BF2ED-545A-4D23-8594-8C8164901A54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FA3BE06D-7094-4181-B35C-4AE013C80F1F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4" name="Copyright">
            <a:extLst>
              <a:ext uri="{FF2B5EF4-FFF2-40B4-BE49-F238E27FC236}">
                <a16:creationId xmlns:a16="http://schemas.microsoft.com/office/drawing/2014/main" id="{F6B0086D-98A4-275F-E169-67E9FF28606F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807B76C-00E5-A418-5FD4-B3AD62DE9D58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792709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812" r:id="rId14"/>
    <p:sldLayoutId id="2147483813" r:id="rId15"/>
    <p:sldLayoutId id="2147483814" r:id="rId16"/>
    <p:sldLayoutId id="2147483815" r:id="rId17"/>
    <p:sldLayoutId id="2147483816" r:id="rId18"/>
    <p:sldLayoutId id="2147483817" r:id="rId19"/>
  </p:sldLayoutIdLst>
  <p:transition>
    <p:fade/>
  </p:transition>
  <p:hf sldNum="0" hdr="0" ftr="0" dt="0"/>
  <p:txStyles>
    <p:titleStyle>
      <a:lvl1pPr algn="l" defTabSz="931863" rtl="0" eaLnBrk="1" fontAlgn="base" hangingPunct="1">
        <a:spcBef>
          <a:spcPct val="0"/>
        </a:spcBef>
        <a:spcAft>
          <a:spcPct val="0"/>
        </a:spcAft>
        <a:defRPr lang="en-US" sz="3600" b="1" kern="1200" spc="-50" dirty="0">
          <a:ln w="3175">
            <a:noFill/>
          </a:ln>
          <a:solidFill>
            <a:schemeClr val="tx1"/>
          </a:solidFill>
          <a:latin typeface="72 Brand" panose="020B0504030603020204" pitchFamily="34" charset="0"/>
          <a:ea typeface="+mn-ea"/>
          <a:cs typeface="72 Bold" panose="020B0803030000000003" pitchFamily="34" charset="0"/>
        </a:defRPr>
      </a:lvl1pPr>
      <a:lvl2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286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8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1pPr>
      <a:lvl2pPr marL="4572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0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2pPr>
      <a:lvl3pPr marL="657225" indent="-20002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6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3pPr>
      <a:lvl4pPr marL="842963" indent="-1809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4pPr>
      <a:lvl5pPr marL="1023938" indent="-1682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0">
          <p15:clr>
            <a:srgbClr val="F26B43"/>
          </p15:clr>
        </p15:guide>
        <p15:guide id="2" pos="360">
          <p15:clr>
            <a:srgbClr val="F26B43"/>
          </p15:clr>
        </p15:guide>
        <p15:guide id="3" pos="7320">
          <p15:clr>
            <a:srgbClr val="F26B43"/>
          </p15:clr>
        </p15:guide>
        <p15:guide id="4" orient="horz" pos="368">
          <p15:clr>
            <a:srgbClr val="F26B43"/>
          </p15:clr>
        </p15:guide>
        <p15:guide id="5" pos="184">
          <p15:clr>
            <a:srgbClr val="F26B43"/>
          </p15:clr>
        </p15:guide>
        <p15:guide id="6" pos="7496">
          <p15:clr>
            <a:srgbClr val="F26B43"/>
          </p15:clr>
        </p15:guide>
        <p15:guide id="7" orient="horz" pos="175">
          <p15:clr>
            <a:srgbClr val="F26B43"/>
          </p15:clr>
        </p15:guide>
        <p15:guide id="8" orient="horz" pos="413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DADA95-CE93-7FBA-4AA8-2B6704A43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72081184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04" imgH="405" progId="TCLayout.ActiveDocument.1">
                  <p:embed/>
                </p:oleObj>
              </mc:Choice>
              <mc:Fallback>
                <p:oleObj name="think-cell Slide" r:id="rId22" imgW="404" imgH="40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DADA95-CE93-7FBA-4AA8-2B6704A43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8DD38F-4A35-4671-BE35-E2D589FC833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9116" y="469640"/>
            <a:ext cx="11020119" cy="55403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27" name="Text Placeholder 3">
            <a:extLst>
              <a:ext uri="{FF2B5EF4-FFF2-40B4-BE49-F238E27FC236}">
                <a16:creationId xmlns:a16="http://schemas.microsoft.com/office/drawing/2014/main" id="{C506EEC7-28C3-447D-A092-08572597C259}"/>
              </a:ext>
            </a:extLst>
          </p:cNvPr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84352" y="1435100"/>
            <a:ext cx="11021707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1028" name="GRID" hidden="1">
            <a:extLst>
              <a:ext uri="{FF2B5EF4-FFF2-40B4-BE49-F238E27FC236}">
                <a16:creationId xmlns:a16="http://schemas.microsoft.com/office/drawing/2014/main" id="{A2A9D185-79AB-4AD0-89DA-D60F0C62253C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5175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3E11977-8CF9-485D-ACE5-33EEB0D46437}"/>
                </a:ext>
              </a:extLst>
            </p:cNvPr>
            <p:cNvCxnSpPr/>
            <p:nvPr/>
          </p:nvCxnSpPr>
          <p:spPr>
            <a:xfrm>
              <a:off x="0" y="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FBB5E38-506A-44DD-A315-56E157E16AF0}"/>
                </a:ext>
              </a:extLst>
            </p:cNvPr>
            <p:cNvCxnSpPr/>
            <p:nvPr/>
          </p:nvCxnSpPr>
          <p:spPr>
            <a:xfrm>
              <a:off x="0" y="2921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0CB70-5AC0-476B-AA40-C2241BEB8DFF}"/>
                </a:ext>
              </a:extLst>
            </p:cNvPr>
            <p:cNvCxnSpPr/>
            <p:nvPr/>
          </p:nvCxnSpPr>
          <p:spPr>
            <a:xfrm>
              <a:off x="0" y="585788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ACEF339-045A-4996-8036-3371D72B7792}"/>
                </a:ext>
              </a:extLst>
            </p:cNvPr>
            <p:cNvCxnSpPr/>
            <p:nvPr/>
          </p:nvCxnSpPr>
          <p:spPr>
            <a:xfrm>
              <a:off x="0" y="6272213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BCC50FD-86C8-42F8-9D68-7DADB5458B31}"/>
                </a:ext>
              </a:extLst>
            </p:cNvPr>
            <p:cNvCxnSpPr/>
            <p:nvPr/>
          </p:nvCxnSpPr>
          <p:spPr>
            <a:xfrm>
              <a:off x="0" y="65659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D4A581-DE57-4A63-996B-BE800760E15C}"/>
                </a:ext>
              </a:extLst>
            </p:cNvPr>
            <p:cNvCxnSpPr/>
            <p:nvPr/>
          </p:nvCxnSpPr>
          <p:spPr>
            <a:xfrm>
              <a:off x="0" y="68580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ABA573-5574-4F8A-A22B-83348FDE631E}"/>
                </a:ext>
              </a:extLst>
            </p:cNvPr>
            <p:cNvCxnSpPr/>
            <p:nvPr/>
          </p:nvCxnSpPr>
          <p:spPr>
            <a:xfrm>
              <a:off x="0" y="8778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00EC732-F52C-4DCC-969C-5C03983A6864}"/>
                </a:ext>
              </a:extLst>
            </p:cNvPr>
            <p:cNvCxnSpPr/>
            <p:nvPr/>
          </p:nvCxnSpPr>
          <p:spPr>
            <a:xfrm>
              <a:off x="0" y="11699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1970F0B-BC66-48A4-AFE3-81E6AD0DF714}"/>
                </a:ext>
              </a:extLst>
            </p:cNvPr>
            <p:cNvCxnSpPr/>
            <p:nvPr/>
          </p:nvCxnSpPr>
          <p:spPr>
            <a:xfrm>
              <a:off x="0" y="14636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18F09C-04FE-456E-B005-DCF9AD18BDE2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29FE731-4088-4B63-9BDA-0CECFD8FE6BF}"/>
                </a:ext>
              </a:extLst>
            </p:cNvPr>
            <p:cNvCxnSpPr/>
            <p:nvPr/>
          </p:nvCxnSpPr>
          <p:spPr>
            <a:xfrm>
              <a:off x="585788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232B1C-BA17-47D7-8EC4-A6FA94639357}"/>
                </a:ext>
              </a:extLst>
            </p:cNvPr>
            <p:cNvCxnSpPr/>
            <p:nvPr/>
          </p:nvCxnSpPr>
          <p:spPr>
            <a:xfrm>
              <a:off x="2921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C0B7A88-07B8-4006-83A4-9775E56330FC}"/>
                </a:ext>
              </a:extLst>
            </p:cNvPr>
            <p:cNvCxnSpPr/>
            <p:nvPr/>
          </p:nvCxnSpPr>
          <p:spPr>
            <a:xfrm>
              <a:off x="8778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95DC405-8389-4A07-9075-49586FC5C38A}"/>
                </a:ext>
              </a:extLst>
            </p:cNvPr>
            <p:cNvCxnSpPr/>
            <p:nvPr/>
          </p:nvCxnSpPr>
          <p:spPr>
            <a:xfrm>
              <a:off x="11699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98523BC-FB5E-4A17-8196-29101995A258}"/>
                </a:ext>
              </a:extLst>
            </p:cNvPr>
            <p:cNvCxnSpPr/>
            <p:nvPr/>
          </p:nvCxnSpPr>
          <p:spPr>
            <a:xfrm>
              <a:off x="110220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CD9206-271F-48E7-BF40-5D3BA0E55523}"/>
                </a:ext>
              </a:extLst>
            </p:cNvPr>
            <p:cNvCxnSpPr/>
            <p:nvPr/>
          </p:nvCxnSpPr>
          <p:spPr>
            <a:xfrm>
              <a:off x="11606213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29F7B5-876C-4712-8DC6-7CADEB1A6132}"/>
                </a:ext>
              </a:extLst>
            </p:cNvPr>
            <p:cNvCxnSpPr/>
            <p:nvPr/>
          </p:nvCxnSpPr>
          <p:spPr>
            <a:xfrm>
              <a:off x="113141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4EA0CCB-1F5D-4570-AA71-CDC176FF7307}"/>
                </a:ext>
              </a:extLst>
            </p:cNvPr>
            <p:cNvCxnSpPr/>
            <p:nvPr/>
          </p:nvCxnSpPr>
          <p:spPr>
            <a:xfrm>
              <a:off x="118999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D24AB1E-218C-429C-B96B-6F40E2E367C5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4BACA4F-5C8E-4A1D-A2F2-2B9C468C19AB}"/>
                </a:ext>
              </a:extLst>
            </p:cNvPr>
            <p:cNvCxnSpPr/>
            <p:nvPr/>
          </p:nvCxnSpPr>
          <p:spPr>
            <a:xfrm>
              <a:off x="0" y="17557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8D1FD41-F515-4223-9316-CF49B10CA595}"/>
                </a:ext>
              </a:extLst>
            </p:cNvPr>
            <p:cNvCxnSpPr/>
            <p:nvPr/>
          </p:nvCxnSpPr>
          <p:spPr>
            <a:xfrm>
              <a:off x="0" y="20478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CF3AD4F-5C51-48A8-90BA-A2B91CD10C8B}"/>
                </a:ext>
              </a:extLst>
            </p:cNvPr>
            <p:cNvCxnSpPr/>
            <p:nvPr/>
          </p:nvCxnSpPr>
          <p:spPr>
            <a:xfrm>
              <a:off x="0" y="23415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D0521A3-05EF-4F79-8505-9E2B2C339477}"/>
                </a:ext>
              </a:extLst>
            </p:cNvPr>
            <p:cNvCxnSpPr/>
            <p:nvPr/>
          </p:nvCxnSpPr>
          <p:spPr>
            <a:xfrm>
              <a:off x="0" y="26336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8810284-E24B-4D8D-BF44-856187577D2E}"/>
                </a:ext>
              </a:extLst>
            </p:cNvPr>
            <p:cNvCxnSpPr/>
            <p:nvPr/>
          </p:nvCxnSpPr>
          <p:spPr>
            <a:xfrm>
              <a:off x="0" y="29257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9626754-7ED6-4733-A6F7-0E45D9C47A48}"/>
                </a:ext>
              </a:extLst>
            </p:cNvPr>
            <p:cNvCxnSpPr/>
            <p:nvPr/>
          </p:nvCxnSpPr>
          <p:spPr>
            <a:xfrm>
              <a:off x="0" y="32194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F52ADDF-24EC-47E3-83F8-3918E93DE11D}"/>
                </a:ext>
              </a:extLst>
            </p:cNvPr>
            <p:cNvCxnSpPr/>
            <p:nvPr/>
          </p:nvCxnSpPr>
          <p:spPr>
            <a:xfrm>
              <a:off x="0" y="35115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80AE4D0A-1497-4DA2-88D3-3815D6D31063}"/>
                </a:ext>
              </a:extLst>
            </p:cNvPr>
            <p:cNvCxnSpPr/>
            <p:nvPr/>
          </p:nvCxnSpPr>
          <p:spPr>
            <a:xfrm>
              <a:off x="0" y="38036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BDC60C3-9A65-4C10-AECB-C4427D8D5D31}"/>
                </a:ext>
              </a:extLst>
            </p:cNvPr>
            <p:cNvCxnSpPr/>
            <p:nvPr/>
          </p:nvCxnSpPr>
          <p:spPr>
            <a:xfrm>
              <a:off x="0" y="40957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9FB55BF-AEB3-4AB1-B936-CBBF4162DAD5}"/>
                </a:ext>
              </a:extLst>
            </p:cNvPr>
            <p:cNvCxnSpPr/>
            <p:nvPr/>
          </p:nvCxnSpPr>
          <p:spPr>
            <a:xfrm>
              <a:off x="0" y="43894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1890F9C-92E3-48D3-B57D-EF175EC62B01}"/>
                </a:ext>
              </a:extLst>
            </p:cNvPr>
            <p:cNvCxnSpPr/>
            <p:nvPr/>
          </p:nvCxnSpPr>
          <p:spPr>
            <a:xfrm>
              <a:off x="0" y="46815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66EE5B9-25FA-4221-91A5-6C39DC942699}"/>
                </a:ext>
              </a:extLst>
            </p:cNvPr>
            <p:cNvCxnSpPr/>
            <p:nvPr/>
          </p:nvCxnSpPr>
          <p:spPr>
            <a:xfrm>
              <a:off x="0" y="49736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FA7A0E3-84C0-4C49-BE98-62AF2F82E299}"/>
                </a:ext>
              </a:extLst>
            </p:cNvPr>
            <p:cNvCxnSpPr/>
            <p:nvPr/>
          </p:nvCxnSpPr>
          <p:spPr>
            <a:xfrm>
              <a:off x="0" y="52673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93ACC3E-E2E4-4C54-8203-100979D0BA58}"/>
                </a:ext>
              </a:extLst>
            </p:cNvPr>
            <p:cNvCxnSpPr/>
            <p:nvPr/>
          </p:nvCxnSpPr>
          <p:spPr>
            <a:xfrm>
              <a:off x="0" y="55594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31AC7C3-0670-4E5F-863D-1A6F8AA689A9}"/>
                </a:ext>
              </a:extLst>
            </p:cNvPr>
            <p:cNvCxnSpPr/>
            <p:nvPr/>
          </p:nvCxnSpPr>
          <p:spPr>
            <a:xfrm>
              <a:off x="0" y="58515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A8AF3FCD-9C81-4FDC-B538-783D0C0F93B7}"/>
              </a:ext>
            </a:extLst>
          </p:cNvPr>
          <p:cNvSpPr/>
          <p:nvPr/>
        </p:nvSpPr>
        <p:spPr bwMode="auto">
          <a:xfrm>
            <a:off x="0" y="0"/>
            <a:ext cx="585941" cy="58578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33EF2950-F2B6-4DD3-A9C0-1CF8A171AA34}"/>
              </a:ext>
            </a:extLst>
          </p:cNvPr>
          <p:cNvSpPr/>
          <p:nvPr/>
        </p:nvSpPr>
        <p:spPr bwMode="auto">
          <a:xfrm>
            <a:off x="0" y="0"/>
            <a:ext cx="292176" cy="29210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0" name="Group 49" hidden="1">
            <a:extLst>
              <a:ext uri="{FF2B5EF4-FFF2-40B4-BE49-F238E27FC236}">
                <a16:creationId xmlns:a16="http://schemas.microsoft.com/office/drawing/2014/main" id="{CF3FA4BD-32C9-4A0E-A7B2-52453FFD146E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D14555E9-BE86-4E51-8046-561BE50ED1B7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D6509AF5-A4AA-4A63-BA43-F8D4BB72E871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94C82971-7C3E-4EED-BC20-8DA04C1F60C4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5B5FC1B7-D4CB-44E9-886A-8EF400A1EE15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699D719B-AC81-423C-8565-C830988B8B26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80FD7A5-EF72-40C7-A255-50A927D2F85F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FA2651D8-3304-4065-A858-0B0D06396DC3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BD60FE52-DD0E-4CE7-9889-F4D8670ABD64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52C126FB-9763-4157-AD1D-93D1AA2DDB7B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DAE68EE8-9769-4655-829C-9A70533EA38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49B6813-D843-41DC-9D68-DA1A3B91C899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9DDA07BA-B624-4B9F-9C70-A1A9B81A7CD6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9FE03F51-5C12-4652-B1D3-0201DFC8F73E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40B943D4-0132-4ED7-8163-E68844D68CDD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C872454E-FC8C-4836-A901-2AC1314B5E5B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8254FAC-35FC-4C6F-ABC0-12EE47C9273D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FAAC91DE-80CB-478B-A575-0D1968119AD1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4AE77872-2DF3-48E6-8D8B-D76DE8EF15CE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BFDF6C7D-44EA-4239-BF0B-8228D2C2F606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927D3FED-B46A-4A2C-A44B-D4D19A008B66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5D595194-0969-4924-9757-94D9B7D058A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D781E367-B51E-47B9-9A6A-53D950A154AB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719CCF5-DF53-443B-96D3-6820C32CECC1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3B3ABF3C-98CA-4476-B23A-D2E617DB69F0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67ED3975-B756-4240-A0E0-3E87567CF30A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157520BE-A8AA-4C12-A21D-929D071F7D8A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8DE1E397-8822-47C6-9A8C-63CAB6A5A23F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2440505-9DC4-42FE-BA6D-2C99A98AF218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359BF2ED-545A-4D23-8594-8C8164901A54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FA3BE06D-7094-4181-B35C-4AE013C80F1F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4" name="Copyright">
            <a:extLst>
              <a:ext uri="{FF2B5EF4-FFF2-40B4-BE49-F238E27FC236}">
                <a16:creationId xmlns:a16="http://schemas.microsoft.com/office/drawing/2014/main" id="{F6B0086D-98A4-275F-E169-67E9FF28606F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6F1A75-305C-1A9A-D146-C73CD5DBF9D9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303605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  <p:sldLayoutId id="2147483826" r:id="rId8"/>
    <p:sldLayoutId id="2147483827" r:id="rId9"/>
    <p:sldLayoutId id="2147483828" r:id="rId10"/>
    <p:sldLayoutId id="2147483829" r:id="rId11"/>
    <p:sldLayoutId id="2147483830" r:id="rId12"/>
    <p:sldLayoutId id="2147483831" r:id="rId13"/>
    <p:sldLayoutId id="2147483832" r:id="rId14"/>
    <p:sldLayoutId id="2147483833" r:id="rId15"/>
    <p:sldLayoutId id="2147483834" r:id="rId16"/>
    <p:sldLayoutId id="2147483835" r:id="rId17"/>
    <p:sldLayoutId id="2147483836" r:id="rId18"/>
    <p:sldLayoutId id="2147483837" r:id="rId19"/>
  </p:sldLayoutIdLst>
  <p:transition>
    <p:fade/>
  </p:transition>
  <p:hf sldNum="0" hdr="0" ftr="0" dt="0"/>
  <p:txStyles>
    <p:titleStyle>
      <a:lvl1pPr algn="l" defTabSz="931863" rtl="0" eaLnBrk="1" fontAlgn="base" hangingPunct="1">
        <a:spcBef>
          <a:spcPct val="0"/>
        </a:spcBef>
        <a:spcAft>
          <a:spcPct val="0"/>
        </a:spcAft>
        <a:defRPr lang="en-US" sz="3600" b="1" kern="1200" spc="-50" dirty="0">
          <a:ln w="3175">
            <a:noFill/>
          </a:ln>
          <a:solidFill>
            <a:schemeClr val="tx1"/>
          </a:solidFill>
          <a:latin typeface="72 Brand" panose="020B0504030603020204" pitchFamily="34" charset="0"/>
          <a:ea typeface="+mn-ea"/>
          <a:cs typeface="72 Bold" panose="020B0803030000000003" pitchFamily="34" charset="0"/>
        </a:defRPr>
      </a:lvl1pPr>
      <a:lvl2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286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8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1pPr>
      <a:lvl2pPr marL="4572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0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2pPr>
      <a:lvl3pPr marL="657225" indent="-20002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6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3pPr>
      <a:lvl4pPr marL="842963" indent="-1809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4pPr>
      <a:lvl5pPr marL="1023938" indent="-1682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0">
          <p15:clr>
            <a:srgbClr val="F26B43"/>
          </p15:clr>
        </p15:guide>
        <p15:guide id="2" pos="360">
          <p15:clr>
            <a:srgbClr val="F26B43"/>
          </p15:clr>
        </p15:guide>
        <p15:guide id="3" pos="7320">
          <p15:clr>
            <a:srgbClr val="F26B43"/>
          </p15:clr>
        </p15:guide>
        <p15:guide id="4" orient="horz" pos="368">
          <p15:clr>
            <a:srgbClr val="F26B43"/>
          </p15:clr>
        </p15:guide>
        <p15:guide id="5" pos="184">
          <p15:clr>
            <a:srgbClr val="F26B43"/>
          </p15:clr>
        </p15:guide>
        <p15:guide id="6" pos="7496">
          <p15:clr>
            <a:srgbClr val="F26B43"/>
          </p15:clr>
        </p15:guide>
        <p15:guide id="7" orient="horz" pos="175">
          <p15:clr>
            <a:srgbClr val="F26B43"/>
          </p15:clr>
        </p15:guide>
        <p15:guide id="8" orient="horz" pos="413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" name="think-cell data - do not delete" hidden="1">
            <a:extLst>
              <a:ext uri="{FF2B5EF4-FFF2-40B4-BE49-F238E27FC236}">
                <a16:creationId xmlns:a16="http://schemas.microsoft.com/office/drawing/2014/main" id="{42380D68-F00C-BE6C-A1F0-DAEA038F31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398679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6" imgW="306" imgH="306" progId="TCLayout.ActiveDocument.1">
                  <p:embed/>
                </p:oleObj>
              </mc:Choice>
              <mc:Fallback>
                <p:oleObj name="think-cell Slide" r:id="rId156" imgW="306" imgH="306" progId="TCLayout.ActiveDocument.1">
                  <p:embed/>
                  <p:pic>
                    <p:nvPicPr>
                      <p:cNvPr id="1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380D68-F00C-BE6C-A1F0-DAEA038F3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57293E41-954C-9E9C-7DE2-32FEDBD5A1C6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4" name="Slide number"/>
          <p:cNvSpPr txBox="1"/>
          <p:nvPr userDrawn="1"/>
        </p:nvSpPr>
        <p:spPr bwMode="black">
          <a:xfrm>
            <a:off x="11546207" y="6536753"/>
            <a:ext cx="14427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b="0" i="0" noProof="0" smtClean="0">
                <a:latin typeface="+mn-lt"/>
              </a:rPr>
              <a:pPr marL="0" lvl="0" indent="0" algn="r">
                <a:buNone/>
              </a:pPr>
              <a:t>‹Nr.›</a:t>
            </a:fld>
            <a:endParaRPr lang="en-US" sz="900" b="0" i="0" noProof="0">
              <a:latin typeface="+mn-lt"/>
            </a:endParaRPr>
          </a:p>
        </p:txBody>
      </p:sp>
      <p:sp>
        <p:nvSpPr>
          <p:cNvPr id="12" name="Copyright Placeholder" descr="{&quot;templafy&quot;:{&quot;id&quot;:&quot;8960db9f-55d6-4683-a7ef-5191a33a6538&quot;}}">
            <a:extLst>
              <a:ext uri="{FF2B5EF4-FFF2-40B4-BE49-F238E27FC236}">
                <a16:creationId xmlns:a16="http://schemas.microsoft.com/office/drawing/2014/main" id="{539D88F9-B48F-F143-B90F-EDFB85A350E8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Arial" panose="020B0604020202020204" pitchFamily="34" charset="0"/>
              </a:rPr>
              <a:t>INTERNAL – SAP and Partners Only</a:t>
            </a: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54856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33"/>
            </p:custDataLst>
          </p:nvPr>
        </p:nvGrpSpPr>
        <p:grpSpPr>
          <a:xfrm>
            <a:off x="3938799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34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35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36"/>
            </p:custDataLst>
          </p:nvPr>
        </p:nvGrpSpPr>
        <p:grpSpPr>
          <a:xfrm>
            <a:off x="8296923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70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0" i="0" kern="0"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4" y="2819464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797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D1E39570-4267-1A7A-C213-71CA13959BCF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490315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  <p:sldLayoutId id="2147483855" r:id="rId13"/>
    <p:sldLayoutId id="2147483856" r:id="rId14"/>
    <p:sldLayoutId id="2147483857" r:id="rId15"/>
    <p:sldLayoutId id="2147483858" r:id="rId16"/>
    <p:sldLayoutId id="2147483859" r:id="rId17"/>
    <p:sldLayoutId id="2147483860" r:id="rId18"/>
    <p:sldLayoutId id="2147483861" r:id="rId19"/>
    <p:sldLayoutId id="2147483862" r:id="rId20"/>
    <p:sldLayoutId id="2147483863" r:id="rId21"/>
    <p:sldLayoutId id="2147483864" r:id="rId22"/>
    <p:sldLayoutId id="2147483865" r:id="rId23"/>
    <p:sldLayoutId id="2147483866" r:id="rId24"/>
    <p:sldLayoutId id="2147483867" r:id="rId25"/>
    <p:sldLayoutId id="2147483868" r:id="rId26"/>
    <p:sldLayoutId id="2147483869" r:id="rId27"/>
    <p:sldLayoutId id="2147483870" r:id="rId28"/>
    <p:sldLayoutId id="2147483871" r:id="rId29"/>
    <p:sldLayoutId id="2147483872" r:id="rId30"/>
  </p:sldLayoutIdLst>
  <p:hf hdr="0" ftr="0" dt="0"/>
  <p:txStyles>
    <p:titleStyle>
      <a:lvl1pPr algn="l" defTabSz="1088231" rtl="0" eaLnBrk="1" latinLnBrk="0" hangingPunct="1">
        <a:spcBef>
          <a:spcPct val="0"/>
        </a:spcBef>
        <a:buNone/>
        <a:defRPr sz="2399" b="0" i="0" kern="1200" baseline="0">
          <a:solidFill>
            <a:schemeClr val="tx1"/>
          </a:solidFill>
          <a:latin typeface="72 Brand Medium" panose="020B0504030603020204" pitchFamily="34" charset="0"/>
          <a:ea typeface="+mj-ea"/>
          <a:cs typeface="+mj-cs"/>
        </a:defRPr>
      </a:lvl1pPr>
    </p:titleStyle>
    <p:bodyStyle>
      <a:lvl1pPr marL="0" indent="0" algn="l" defTabSz="1088231" rtl="0" eaLnBrk="1" latinLnBrk="0" hangingPunct="1">
        <a:spcBef>
          <a:spcPts val="1799"/>
        </a:spcBef>
        <a:buClrTx/>
        <a:buSzPct val="80000"/>
        <a:buFont typeface="Roboto" panose="02000000000000000000" pitchFamily="2" charset="0"/>
        <a:buChar char="​"/>
        <a:defRPr sz="1999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1pPr>
      <a:lvl2pPr marL="179910" indent="-179910" algn="l" defTabSz="1088231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799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2pPr>
      <a:lvl3pPr marL="358667" indent="-179334" algn="l" defTabSz="1088231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799" b="0" i="0" kern="1200" noProof="0" dirty="0" smtClean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3pPr>
      <a:lvl4pPr marL="539730" indent="-179910" algn="l" defTabSz="1088231" rtl="0" eaLnBrk="1" latinLnBrk="0" hangingPunct="1">
        <a:spcBef>
          <a:spcPts val="300"/>
        </a:spcBef>
        <a:buClr>
          <a:schemeClr val="tx1"/>
        </a:buClr>
        <a:buSzPct val="80000"/>
        <a:buFont typeface="Courier New" panose="02070309020205020404" pitchFamily="49" charset="0"/>
        <a:buChar char="o"/>
        <a:defRPr sz="16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4pPr>
      <a:lvl5pPr marL="719640" indent="-179910" algn="l" defTabSz="1088231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b="0" i="0" kern="1200" baseline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5pPr>
      <a:lvl6pPr marL="2992637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6753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80868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24985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116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23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34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463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058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4695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881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292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7" Type="http://schemas.openxmlformats.org/officeDocument/2006/relationships/chart" Target="../charts/chart1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66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67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68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69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0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1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2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3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4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5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58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6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7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8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9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0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1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2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59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60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61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62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63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64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65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1043E7-B905-3B9C-2B9F-87C3913EA7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1352CF31-4D28-DF5E-58D9-50EEC1DC00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>
                        <a:extLst>
                          <a:ext uri="{FF2B5EF4-FFF2-40B4-BE49-F238E27FC236}">
                            <a16:creationId xmlns:a16="http://schemas.microsoft.com/office/drawing/2014/main" id="{1352CF31-4D28-DF5E-58D9-50EEC1DC00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47C334C8-5CA2-7D3D-CFB3-0BB19D3DD6EF}"/>
              </a:ext>
            </a:extLst>
          </p:cNvPr>
          <p:cNvSpPr/>
          <p:nvPr/>
        </p:nvSpPr>
        <p:spPr bwMode="gray">
          <a:xfrm>
            <a:off x="766106" y="6391034"/>
            <a:ext cx="1325465" cy="142962"/>
          </a:xfrm>
          <a:prstGeom prst="rect">
            <a:avLst/>
          </a:prstGeom>
          <a:solidFill>
            <a:schemeClr val="bg1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A3DAD939-0090-EF2C-9FB6-76155A6BEDAA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Overview of scheduled Use Case Adoption per LoB</a:t>
            </a:r>
            <a:endParaRPr lang="en-US" sz="2000" b="0" dirty="0"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8D8452-8F1D-305A-E321-D2192EF9F6C5}"/>
              </a:ext>
            </a:extLst>
          </p:cNvPr>
          <p:cNvSpPr/>
          <p:nvPr/>
        </p:nvSpPr>
        <p:spPr bwMode="gray">
          <a:xfrm>
            <a:off x="523811" y="1454032"/>
            <a:ext cx="3633694" cy="3915976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D5AB9ED-B462-E215-432B-4FB35CDD5BA8}"/>
              </a:ext>
            </a:extLst>
          </p:cNvPr>
          <p:cNvSpPr/>
          <p:nvPr/>
        </p:nvSpPr>
        <p:spPr bwMode="gray">
          <a:xfrm>
            <a:off x="950606" y="1466865"/>
            <a:ext cx="2743200" cy="21402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MARKETING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1992A60-D588-F471-9A15-72639C907F1C}"/>
              </a:ext>
            </a:extLst>
          </p:cNvPr>
          <p:cNvSpPr txBox="1">
            <a:spLocks/>
          </p:cNvSpPr>
          <p:nvPr/>
        </p:nvSpPr>
        <p:spPr>
          <a:xfrm>
            <a:off x="8247290" y="1806530"/>
            <a:ext cx="3362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en-DE" sz="18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51D5D72-7221-B57B-3791-7C1D0E92605B}"/>
              </a:ext>
            </a:extLst>
          </p:cNvPr>
          <p:cNvSpPr/>
          <p:nvPr/>
        </p:nvSpPr>
        <p:spPr bwMode="gray">
          <a:xfrm>
            <a:off x="8168610" y="1454032"/>
            <a:ext cx="3633694" cy="3931328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D796D91-D4F3-A21F-277D-8C5009AFBD06}"/>
              </a:ext>
            </a:extLst>
          </p:cNvPr>
          <p:cNvSpPr/>
          <p:nvPr/>
        </p:nvSpPr>
        <p:spPr bwMode="gray">
          <a:xfrm>
            <a:off x="8597818" y="1449452"/>
            <a:ext cx="2743200" cy="253726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SALES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69FF416D-D9BD-F4F4-39F7-786ABB45F126}"/>
              </a:ext>
            </a:extLst>
          </p:cNvPr>
          <p:cNvSpPr/>
          <p:nvPr/>
        </p:nvSpPr>
        <p:spPr bwMode="gray">
          <a:xfrm>
            <a:off x="8165956" y="5462262"/>
            <a:ext cx="3649174" cy="829063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56E8AED1-610B-9795-A57D-9AE36F8FE6FB}"/>
              </a:ext>
            </a:extLst>
          </p:cNvPr>
          <p:cNvSpPr>
            <a:spLocks/>
          </p:cNvSpPr>
          <p:nvPr/>
        </p:nvSpPr>
        <p:spPr bwMode="gray">
          <a:xfrm>
            <a:off x="8658760" y="5471042"/>
            <a:ext cx="2743200" cy="22930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600" b="1" kern="0">
                <a:solidFill>
                  <a:schemeClr val="bg2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CUSTOMER SUCCESS</a:t>
            </a:r>
            <a:endParaRPr lang="en-DE" sz="1600" b="1" kern="0">
              <a:solidFill>
                <a:schemeClr val="bg2">
                  <a:lumMod val="75000"/>
                </a:schemeClr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11" name="BOX_SALES">
            <a:extLst>
              <a:ext uri="{FF2B5EF4-FFF2-40B4-BE49-F238E27FC236}">
                <a16:creationId xmlns:a16="http://schemas.microsoft.com/office/drawing/2014/main" id="{C21E78F7-CB56-DA3A-6FF1-0C1A882A28C8}"/>
              </a:ext>
            </a:extLst>
          </p:cNvPr>
          <p:cNvGraphicFramePr>
            <a:graphicFrameLocks noGrp="1"/>
          </p:cNvGraphicFramePr>
          <p:nvPr/>
        </p:nvGraphicFramePr>
        <p:xfrm>
          <a:off x="8180976" y="1807904"/>
          <a:ext cx="3586955" cy="354290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50755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15390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20810">
                  <a:extLst>
                    <a:ext uri="{9D8B030D-6E8A-4147-A177-3AD203B41FA5}">
                      <a16:colId xmlns:a16="http://schemas.microsoft.com/office/drawing/2014/main" val="1080254677"/>
                    </a:ext>
                  </a:extLst>
                </a:gridCol>
              </a:tblGrid>
              <a:tr h="20701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}}</a:t>
                      </a:r>
                      <a:endParaRPr lang="en-US" sz="700" dirty="0"/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de-DE" sz="700" b="0" dirty="0"/>
                        <a:t> </a:t>
                      </a:r>
                      <a:endParaRPr lang="en-US" sz="700" b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9468445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3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3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3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35745797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4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33320213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5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44692180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6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12819319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7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noProof="1">
                        <a:solidFill>
                          <a:srgbClr val="000000"/>
                        </a:solidFill>
                        <a:latin typeface="72 Brand"/>
                        <a:cs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11730435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8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8}}</a:t>
                      </a:r>
                      <a:endParaRPr lang="en-US" sz="700" dirty="0"/>
                    </a:p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dirty="0"/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8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53442737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9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latin typeface="+mn-lt"/>
                        <a:cs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84447808"/>
                  </a:ext>
                </a:extLst>
              </a:tr>
              <a:tr h="211081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0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28779600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7566835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554038"/>
                  </a:ext>
                </a:extLst>
              </a:tr>
            </a:tbl>
          </a:graphicData>
        </a:graphic>
      </p:graphicFrame>
      <p:sp>
        <p:nvSpPr>
          <p:cNvPr id="47" name="Rectangle 46">
            <a:extLst>
              <a:ext uri="{FF2B5EF4-FFF2-40B4-BE49-F238E27FC236}">
                <a16:creationId xmlns:a16="http://schemas.microsoft.com/office/drawing/2014/main" id="{320D6532-32D7-BE70-B01F-930F97BD974C}"/>
              </a:ext>
            </a:extLst>
          </p:cNvPr>
          <p:cNvSpPr/>
          <p:nvPr/>
        </p:nvSpPr>
        <p:spPr bwMode="gray">
          <a:xfrm>
            <a:off x="523810" y="5448626"/>
            <a:ext cx="3633694" cy="842699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CDD3366-3187-AA82-1141-60F026AC0C25}"/>
              </a:ext>
            </a:extLst>
          </p:cNvPr>
          <p:cNvGraphicFramePr>
            <a:graphicFrameLocks noGrp="1"/>
          </p:cNvGraphicFramePr>
          <p:nvPr/>
        </p:nvGraphicFramePr>
        <p:xfrm>
          <a:off x="4302511" y="5305125"/>
          <a:ext cx="3649174" cy="198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12968">
                  <a:extLst>
                    <a:ext uri="{9D8B030D-6E8A-4147-A177-3AD203B41FA5}">
                      <a16:colId xmlns:a16="http://schemas.microsoft.com/office/drawing/2014/main" val="552861658"/>
                    </a:ext>
                  </a:extLst>
                </a:gridCol>
                <a:gridCol w="536206">
                  <a:extLst>
                    <a:ext uri="{9D8B030D-6E8A-4147-A177-3AD203B41FA5}">
                      <a16:colId xmlns:a16="http://schemas.microsoft.com/office/drawing/2014/main" val="404933234"/>
                    </a:ext>
                  </a:extLst>
                </a:gridCol>
              </a:tblGrid>
              <a:tr h="169796">
                <a:tc>
                  <a:txBody>
                    <a:bodyPr/>
                    <a:lstStyle/>
                    <a:p>
                      <a:pPr marL="0" marR="0" lvl="0" indent="0" algn="l" defTabSz="913578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>
                        <a:solidFill>
                          <a:srgbClr val="000000"/>
                        </a:solidFill>
                        <a:latin typeface="+mn-lt"/>
                        <a:cs typeface="Segoe UI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7418871"/>
                  </a:ext>
                </a:extLst>
              </a:tr>
            </a:tbl>
          </a:graphicData>
        </a:graphic>
      </p:graphicFrame>
      <p:grpSp>
        <p:nvGrpSpPr>
          <p:cNvPr id="10" name="Gruppieren 47">
            <a:extLst>
              <a:ext uri="{FF2B5EF4-FFF2-40B4-BE49-F238E27FC236}">
                <a16:creationId xmlns:a16="http://schemas.microsoft.com/office/drawing/2014/main" id="{FD07D0ED-2E6D-DB12-95CA-6A95ED145164}"/>
              </a:ext>
            </a:extLst>
          </p:cNvPr>
          <p:cNvGrpSpPr/>
          <p:nvPr/>
        </p:nvGrpSpPr>
        <p:grpSpPr>
          <a:xfrm>
            <a:off x="5712518" y="1861111"/>
            <a:ext cx="1149233" cy="1107886"/>
            <a:chOff x="859244" y="1818358"/>
            <a:chExt cx="1149233" cy="1107886"/>
          </a:xfrm>
        </p:grpSpPr>
        <p:sp>
          <p:nvSpPr>
            <p:cNvPr id="14" name="Abgerundetes Rechteck 37">
              <a:extLst>
                <a:ext uri="{FF2B5EF4-FFF2-40B4-BE49-F238E27FC236}">
                  <a16:creationId xmlns:a16="http://schemas.microsoft.com/office/drawing/2014/main" id="{0C119FA6-84BD-2B14-44D2-963F62B0ADC2}"/>
                </a:ext>
              </a:extLst>
            </p:cNvPr>
            <p:cNvSpPr/>
            <p:nvPr/>
          </p:nvSpPr>
          <p:spPr bwMode="gray">
            <a:xfrm>
              <a:off x="859244" y="1818358"/>
              <a:ext cx="1149233" cy="1107886"/>
            </a:xfrm>
            <a:prstGeom prst="roundRect">
              <a:avLst>
                <a:gd name="adj" fmla="val 7793"/>
              </a:avLst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de-DE" sz="1800" b="0" i="0" u="none" strike="noStrike" kern="0" cap="none" spc="0" normalizeH="0" baseline="0" noProof="1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4" name="Textfeld 38">
              <a:extLst>
                <a:ext uri="{FF2B5EF4-FFF2-40B4-BE49-F238E27FC236}">
                  <a16:creationId xmlns:a16="http://schemas.microsoft.com/office/drawing/2014/main" id="{20DA1062-66E2-2CD2-5FEF-B68F8BD9EAEC}"/>
                </a:ext>
              </a:extLst>
            </p:cNvPr>
            <p:cNvSpPr txBox="1"/>
            <p:nvPr/>
          </p:nvSpPr>
          <p:spPr>
            <a:xfrm>
              <a:off x="948936" y="1913154"/>
              <a:ext cx="1013098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1000" b="1" kern="0" noProof="1"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Business Adoption CDP</a:t>
              </a:r>
            </a:p>
          </p:txBody>
        </p:sp>
        <p:sp>
          <p:nvSpPr>
            <p:cNvPr id="38" name="Textfeld 39">
              <a:extLst>
                <a:ext uri="{FF2B5EF4-FFF2-40B4-BE49-F238E27FC236}">
                  <a16:creationId xmlns:a16="http://schemas.microsoft.com/office/drawing/2014/main" id="{1030E192-4908-4F55-A27F-56B3F7F829A5}"/>
                </a:ext>
              </a:extLst>
            </p:cNvPr>
            <p:cNvSpPr txBox="1"/>
            <p:nvPr/>
          </p:nvSpPr>
          <p:spPr>
            <a:xfrm>
              <a:off x="948936" y="2263356"/>
              <a:ext cx="442429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2000" kern="0" noProof="1">
                  <a:solidFill>
                    <a:srgbClr val="0070F2"/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5 </a:t>
              </a:r>
              <a:r>
                <a:rPr lang="de-DE" sz="1050" kern="0" noProof="1">
                  <a:solidFill>
                    <a:schemeClr val="bg1">
                      <a:lumMod val="65000"/>
                    </a:schemeClr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(</a:t>
              </a:r>
              <a:r>
                <a:rPr lang="de-DE" sz="1050" kern="0" noProof="1">
                  <a:solidFill>
                    <a:schemeClr val="accent3"/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+1</a:t>
              </a:r>
              <a:r>
                <a:rPr lang="de-DE" sz="1050" kern="0" noProof="1">
                  <a:solidFill>
                    <a:schemeClr val="bg1">
                      <a:lumMod val="65000"/>
                    </a:schemeClr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)</a:t>
              </a:r>
              <a:endParaRPr lang="de-DE" sz="2000" kern="0" noProof="1">
                <a:solidFill>
                  <a:schemeClr val="bg1">
                    <a:lumMod val="65000"/>
                  </a:schemeClr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40" name="Textfeld 40">
              <a:extLst>
                <a:ext uri="{FF2B5EF4-FFF2-40B4-BE49-F238E27FC236}">
                  <a16:creationId xmlns:a16="http://schemas.microsoft.com/office/drawing/2014/main" id="{99AD5A90-BEC6-3A18-29DC-D6D710A3EFE1}"/>
                </a:ext>
              </a:extLst>
            </p:cNvPr>
            <p:cNvSpPr txBox="1"/>
            <p:nvPr/>
          </p:nvSpPr>
          <p:spPr>
            <a:xfrm>
              <a:off x="948936" y="2709218"/>
              <a:ext cx="83837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1000" kern="0" noProof="1"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# of Use Cases</a:t>
              </a:r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69E91A3D-90CA-BBBB-0D22-F4BFD04D0A0D}"/>
              </a:ext>
            </a:extLst>
          </p:cNvPr>
          <p:cNvSpPr txBox="1"/>
          <p:nvPr/>
        </p:nvSpPr>
        <p:spPr>
          <a:xfrm>
            <a:off x="4288388" y="1286092"/>
            <a:ext cx="381211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16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dopted UC and split across </a:t>
            </a:r>
            <a:r>
              <a:rPr lang="en-US" sz="1600" b="1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LoBs</a:t>
            </a:r>
            <a:endParaRPr lang="en-DE" sz="1600" b="1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36" name="BOX_COMPLIANCE">
            <a:extLst>
              <a:ext uri="{FF2B5EF4-FFF2-40B4-BE49-F238E27FC236}">
                <a16:creationId xmlns:a16="http://schemas.microsoft.com/office/drawing/2014/main" id="{F2A7AFCA-C203-E04F-4B37-8B0C2B5B20FD}"/>
              </a:ext>
            </a:extLst>
          </p:cNvPr>
          <p:cNvGraphicFramePr>
            <a:graphicFrameLocks noGrp="1"/>
          </p:cNvGraphicFramePr>
          <p:nvPr/>
        </p:nvGraphicFramePr>
        <p:xfrm>
          <a:off x="503238" y="5799400"/>
          <a:ext cx="3608359" cy="6096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30914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20012">
                  <a:extLst>
                    <a:ext uri="{9D8B030D-6E8A-4147-A177-3AD203B41FA5}">
                      <a16:colId xmlns:a16="http://schemas.microsoft.com/office/drawing/2014/main" val="2891579348"/>
                    </a:ext>
                  </a:extLst>
                </a:gridCol>
                <a:gridCol w="557433">
                  <a:extLst>
                    <a:ext uri="{9D8B030D-6E8A-4147-A177-3AD203B41FA5}">
                      <a16:colId xmlns:a16="http://schemas.microsoft.com/office/drawing/2014/main" val="1301463886"/>
                    </a:ext>
                  </a:extLst>
                </a:gridCol>
              </a:tblGrid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A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3796178"/>
                  </a:ext>
                </a:extLst>
              </a:tr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D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A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2511762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F67DBE4-9CBF-FEFF-84CF-833AD8E33CCC}"/>
              </a:ext>
            </a:extLst>
          </p:cNvPr>
          <p:cNvSpPr txBox="1"/>
          <p:nvPr/>
        </p:nvSpPr>
        <p:spPr>
          <a:xfrm>
            <a:off x="3103953" y="1707804"/>
            <a:ext cx="115004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7EE9FCA-7F3F-D7B0-271C-A4AD692743D0}"/>
              </a:ext>
            </a:extLst>
          </p:cNvPr>
          <p:cNvSpPr txBox="1"/>
          <p:nvPr/>
        </p:nvSpPr>
        <p:spPr>
          <a:xfrm>
            <a:off x="3103583" y="5708420"/>
            <a:ext cx="101669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E1BE022-B831-E5E4-2646-7C5311FCF4AF}"/>
              </a:ext>
            </a:extLst>
          </p:cNvPr>
          <p:cNvSpPr txBox="1"/>
          <p:nvPr/>
        </p:nvSpPr>
        <p:spPr>
          <a:xfrm>
            <a:off x="10785693" y="1707804"/>
            <a:ext cx="1802296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graphicFrame>
        <p:nvGraphicFramePr>
          <p:cNvPr id="53" name="BOX_CUSTOMER_SUCCESS">
            <a:extLst>
              <a:ext uri="{FF2B5EF4-FFF2-40B4-BE49-F238E27FC236}">
                <a16:creationId xmlns:a16="http://schemas.microsoft.com/office/drawing/2014/main" id="{6EC3B42E-E75A-3A1D-F499-13F94EA65CE8}"/>
              </a:ext>
            </a:extLst>
          </p:cNvPr>
          <p:cNvGraphicFramePr>
            <a:graphicFrameLocks noGrp="1"/>
          </p:cNvGraphicFramePr>
          <p:nvPr/>
        </p:nvGraphicFramePr>
        <p:xfrm>
          <a:off x="8148439" y="5853913"/>
          <a:ext cx="3661179" cy="3048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38936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486604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35639">
                  <a:extLst>
                    <a:ext uri="{9D8B030D-6E8A-4147-A177-3AD203B41FA5}">
                      <a16:colId xmlns:a16="http://schemas.microsoft.com/office/drawing/2014/main" val="108025467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3578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ustomer Success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U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UA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</a:tbl>
          </a:graphicData>
        </a:graphic>
      </p:graphicFrame>
      <p:sp>
        <p:nvSpPr>
          <p:cNvPr id="54" name="TextBox 53">
            <a:extLst>
              <a:ext uri="{FF2B5EF4-FFF2-40B4-BE49-F238E27FC236}">
                <a16:creationId xmlns:a16="http://schemas.microsoft.com/office/drawing/2014/main" id="{9A22D1B1-B8F2-D837-DA9F-5307898858B4}"/>
              </a:ext>
            </a:extLst>
          </p:cNvPr>
          <p:cNvSpPr txBox="1"/>
          <p:nvPr/>
        </p:nvSpPr>
        <p:spPr>
          <a:xfrm>
            <a:off x="10806429" y="5766865"/>
            <a:ext cx="96150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B54F62E-E796-A1C4-C854-76A20C3909C9}"/>
              </a:ext>
            </a:extLst>
          </p:cNvPr>
          <p:cNvGraphicFramePr/>
          <p:nvPr/>
        </p:nvGraphicFramePr>
        <p:xfrm>
          <a:off x="4820400" y="4106492"/>
          <a:ext cx="2573216" cy="2184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57C53294-7C77-F68E-9F05-FC126D4691B2}"/>
              </a:ext>
            </a:extLst>
          </p:cNvPr>
          <p:cNvSpPr/>
          <p:nvPr/>
        </p:nvSpPr>
        <p:spPr bwMode="gray">
          <a:xfrm>
            <a:off x="6408429" y="3821591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ADOPTED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A46654CB-8B4D-B2C4-5516-2DA55EF74588}"/>
              </a:ext>
            </a:extLst>
          </p:cNvPr>
          <p:cNvSpPr/>
          <p:nvPr/>
        </p:nvSpPr>
        <p:spPr bwMode="gray">
          <a:xfrm>
            <a:off x="4396926" y="4022885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de-DE" sz="1000" b="1" ker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F</a:t>
            </a:r>
            <a:r>
              <a:rPr lang="en-US" sz="1000" b="1" ker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ORECASTED USE CASES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5D3A3200-4CF1-1AE0-FB38-8F09330B7E03}"/>
              </a:ext>
            </a:extLst>
          </p:cNvPr>
          <p:cNvSpPr/>
          <p:nvPr/>
        </p:nvSpPr>
        <p:spPr bwMode="gray">
          <a:xfrm>
            <a:off x="6811336" y="5888635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ADOPTION</a:t>
            </a:r>
            <a:b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</a:br>
            <a: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SCHEDULED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C98C732F-1085-AF18-A648-A910D4228D3E}"/>
              </a:ext>
            </a:extLst>
          </p:cNvPr>
          <p:cNvSpPr>
            <a:spLocks/>
          </p:cNvSpPr>
          <p:nvPr/>
        </p:nvSpPr>
        <p:spPr bwMode="gray">
          <a:xfrm>
            <a:off x="950606" y="5450042"/>
            <a:ext cx="2743200" cy="240873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en-US" sz="1600" b="1" kern="0">
                <a:solidFill>
                  <a:schemeClr val="tx2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COMPLIANCE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15" name="BOX_MARKETING">
            <a:extLst>
              <a:ext uri="{FF2B5EF4-FFF2-40B4-BE49-F238E27FC236}">
                <a16:creationId xmlns:a16="http://schemas.microsoft.com/office/drawing/2014/main" id="{303EF505-49D3-B2EC-0731-684336D010A9}"/>
              </a:ext>
            </a:extLst>
          </p:cNvPr>
          <p:cNvGraphicFramePr>
            <a:graphicFrameLocks noGrp="1"/>
          </p:cNvGraphicFramePr>
          <p:nvPr/>
        </p:nvGraphicFramePr>
        <p:xfrm>
          <a:off x="553081" y="1807904"/>
          <a:ext cx="3578027" cy="334923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33473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72277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72277">
                  <a:extLst>
                    <a:ext uri="{9D8B030D-6E8A-4147-A177-3AD203B41FA5}">
                      <a16:colId xmlns:a16="http://schemas.microsoft.com/office/drawing/2014/main" val="4047630861"/>
                    </a:ext>
                  </a:extLst>
                </a:gridCol>
              </a:tblGrid>
              <a:tr h="206269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  {{M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 Title 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  {{M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8222422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 3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  {{M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3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836275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 Title 4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{{MD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5724157"/>
                  </a:ext>
                </a:extLst>
              </a:tr>
              <a:tr h="330600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5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7835029"/>
                  </a:ext>
                </a:extLst>
              </a:tr>
              <a:tr h="42272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6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5270968"/>
                  </a:ext>
                </a:extLst>
              </a:tr>
              <a:tr h="53231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7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7829647"/>
                  </a:ext>
                </a:extLst>
              </a:tr>
              <a:tr h="31312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8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8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8}}</a:t>
                      </a:r>
                      <a:endParaRPr lang="en-US" sz="700" dirty="0"/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34038"/>
                  </a:ext>
                </a:extLst>
              </a:tr>
              <a:tr h="31312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9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9}}</a:t>
                      </a:r>
                      <a:endParaRPr lang="en-US" sz="700" dirty="0"/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1236838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0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0}}</a:t>
                      </a:r>
                      <a:r>
                        <a:rPr lang="en-US" sz="700" dirty="0"/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3810409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4926700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44857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493943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2272E3-2F8D-B030-17DD-52757F6216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92D8C1A5-51A2-C9A5-6E3B-2E020EE415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EAA23CB6-246F-47D8-A9DC-B6A0B13EDD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E3A187E-4DF7-E157-1F3E-83481FCE90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FC8A9ED-1A65-0F27-272F-5EC0479A6FFF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BE2C242-6BCE-9AA5-81E6-BB32DB42AAAB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B497D3C-6096-8954-727D-56A5058936D2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6219C11-39D2-4B41-CA3E-F897D26FE32A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C112FF7-4334-9C7D-D0E5-5B38A9260C6D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0E24A55-1A5B-0113-C91D-110986F6B589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0B6D422-A0B5-F08D-E18D-F690C594823C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1E2C6EC-1147-9418-BBA8-E84D91DF3360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CE686AE-52D1-A050-1A41-BE0BC1C42CF5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C7D0C6D-CC99-FFC2-4490-5CB47D30AC5A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5D141B-F6EE-8941-A5DB-34C4D2B1D19F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E0AD00B-E502-9892-0DB6-6269A313FB8F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DE0AE80-8F47-7F10-0964-3093033164CD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09E71AE-F557-8785-DCF2-23ED979B161C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2C0717B-18DA-A8D6-208B-7361DE7D0368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0356ECC-2929-A7C3-6889-15ACACD1256C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D0E4A23-BB6A-ECA4-3D0A-F1F89E039CB2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5B60579-5CAB-8145-C17B-A3FF2A43723A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DAF9891A-8627-FD1E-B17E-D748D9EC4E4C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17FC3A48-3AF2-81CF-8697-CCA091F3B425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DC87234F-1507-1B30-53AE-C76880F66C33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2FBCE4A8-F02E-02E7-29E0-06AC83BD19AE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8F0721A4-090D-DD64-846B-B94E24078716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9D1D8B79-C22C-6B65-47CF-99CBDAD85AEE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6BD009E8-B8C7-936A-F178-4E14A06F7AC1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3F34DEC-BBD0-F2E6-8459-8EDA8C965729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E4EB7C5F-1BBD-8515-049B-ED4AB97C082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09E337C9-9818-CED7-1EDF-1290D18AC3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E87DD833-BA39-2C8D-A90B-DDDC2F1618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5484BDEF-1781-1819-A1A3-C7179E2FAD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50A5C574-A576-2F71-7531-6B99F30B03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655F453F-8369-67DE-96F5-0EDCBC47A0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5C91C76B-4D8B-4588-6D2D-B8FFC3F880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9D69C994-950E-E7D9-818F-B0D3E8461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11B559FF-0E23-EC58-7C7F-A942606B851F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7DC8795-1EDE-8DAA-4C7A-DE8B56AE3B46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B173EAA-7E77-C5AA-B32C-AB6F6A469360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FF4C0B9-6414-AB4D-F537-31F700166668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C8CBBC4-9F14-000E-842F-BE9656603544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1DD20C9-43DA-1C3F-C6BC-42973401FEA3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178283AE-2347-84C1-5DFA-A37640618A4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15B9A3E0-4E65-293F-E395-BB4278D27D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C996BEAC-688A-CD02-22BD-5F6995A31A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55E65C43-BB35-FF87-F082-42D46AD0DF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D425C4E7-209A-195A-69E9-2DEEBDE574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1DDB3D9C-B74E-8A21-CB45-DEB1838681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81A65648-6ED8-3081-F0DA-BF02C80A1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0C5A9AC0-1756-9563-258B-798133786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A80F334A-3238-BF86-E048-23EDB3857E92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034879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9ECA0F-CCAE-EBE8-2E9A-4C9E0F898C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12C3EF8A-72D7-55EA-D2DA-368C36C71A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2D8C1A5-51A2-C9A5-6E3B-2E020EE415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B27D725-D018-BF0D-79AA-8820EBEB8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4EB519B-2A66-F006-8BA7-C52D5C47459F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55021B8-9211-4CE8-5CD0-ACA59DFE4E6B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5B3DF1B-81DC-3FB7-4DCE-F963A6383B78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561FE05-6377-1D0E-4D11-125C777D28E6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65BB6E9-0233-7BE2-AD25-73DD0273814C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F20E08C-AC17-15AD-0C33-294482D9DBD8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88B3843-4D3D-26E7-84C3-F0ACE08870B0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7C3BE11-57DB-8753-7C35-810F0CAFECB8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B0CA04C-0777-B39E-7603-44433905116B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FCA5713-7770-5B93-F3AD-86E6E976393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7B274AF-044E-8B41-18D3-C3FABEB49932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7F04D32-D8A4-9DE4-DB36-9130DDD33B09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0311650-C619-3C56-F393-2E68D0B5BE3F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FAA9EE0-3DF8-E1A2-9103-072B3995D817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EC3244A-B694-E05F-5113-C70F06485263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D17EE90-4468-6124-D52F-2717029CFE15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9807D6F-D5DF-F4E6-CB07-A6C6192623B4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A0C2C5A-3ED6-1755-C0F4-A1244E6D0D6A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4F2268AF-476D-5E8B-488E-CAF4C6FCE186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323AB682-007B-D276-DC3E-D5C85DB9CBE9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19215798-1213-2E23-841C-210FF32DB329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79C06EFF-5624-056B-1387-A62EEB33D391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CF2A589C-7DC2-86B5-0DE8-4133C5A2407C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04038257-524F-0F45-0A46-65C1875254B5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90F596B-EFA8-D650-5D46-B64C5D02D0FB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546222E-3789-3D2C-1185-51C1E76B0002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2859C8C3-3294-255C-7BE4-F1E78B5E66B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91F99992-4FF0-64CC-D17C-0D4A81FA55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B73259F0-AACA-0683-FCB2-861F028E884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A53234CB-95B1-2046-BD26-65EBFDA3E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2CE9A990-3FA0-0EEC-3E7E-0662E68011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9929A9E1-CDCC-F5EB-04E1-EC72E05A32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9D17BAE9-D87C-7349-8D86-947649FD9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69FAC5AF-2113-4E89-2202-F508FC2D31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B0740EFA-ADD2-83B3-6F17-F262BD884106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434E7E0-DD9B-71CA-AF26-3CB0CE0157FE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389BD2F-1D41-F0DE-A511-15FD1677F336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5CE93DF-1193-A028-0300-AA899B398C12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57B7B23-C57F-A2F3-95A7-8168912F1C23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E2E4D19-3608-62E1-733D-ECB1386C35E7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4D20C510-848D-3EAE-AF60-E26C0670B4C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38A627D2-0BC2-1030-AA27-906E24CC1A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77B93561-1ED3-A38D-2174-DE606CB8276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1D56F59E-7358-AFE4-F7C1-ADBF58EBAD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C70AA456-1064-C76F-2FCE-B4A0E0C0FD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02F1D4FB-96F9-2A43-01F7-43A3538B7B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FE734359-53A7-A032-6E74-7837EEBB3E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D24A8CFE-D05A-097E-D8FD-F92B558FA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303982A7-C2DB-938F-3DA9-172332C35D10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990618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F5A800-2457-9F39-E373-BF3AE914A2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9617A2D0-30DF-FCA2-15C5-B738948B55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2D8C1A5-51A2-C9A5-6E3B-2E020EE415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F52BB2C-1D95-5661-8C3E-B2959FA93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E865D0F-4625-3CB1-8EBF-6620209EAF4B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0E19F9B-5062-D29E-900E-AA840082B482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A587836-6086-E207-66A0-AF27A3B8A380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963A759-0F03-0E2A-C4E3-2357D21BDDB3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1043728-390D-FA8D-EA34-CE6BAE061690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C748CD7-B215-B2F3-F878-881019D1A21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70449E0-1F73-31DD-7779-8D1AD8CC3404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6A64787-470E-F376-AE10-31C858AAE992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E3026B4-9B78-48D8-20FC-014E4AD6C8DE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BEA9B19-1B64-48FA-31F7-1AD91DD99B5C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451AB30-74FC-5B21-981F-6EA4D2CE1BF2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ACA30AE-C890-8577-D33E-BCD9A60D7E06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C07CFBD-9C54-0C65-72E3-D71913B634E4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BB5184E-B658-977D-6D63-3F98A2EEFD9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AB2EB78-3C66-71B6-656E-9DA9AA491FEA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779B2FC-2CB5-37F7-9605-49A7306F48DA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F3F7337-227D-0892-9BE1-426787D1D6A7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504999A-A731-F306-CACC-2F7F2AB0EF21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C90497E6-513B-059A-DC65-5B1BF2A82B59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E4A4A25C-24E5-28C8-4B05-7218C1080040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F0840DC6-77BA-35E5-2384-8D926D2F7143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8519679C-C515-273E-B302-391B8A352889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79D5CA45-0298-D683-071C-ACA4DABB8199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F8292265-7B90-9273-556B-A4F43D8DEEB3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1602A11-514F-A347-0A74-29435F891156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5D68F7B-08E8-F071-F880-5F8A8BC53622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03D5DE14-62C1-FF76-B513-26654BA9905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94693FB7-BBED-A164-5CC1-BDA5ED2216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26BD3377-804E-C766-E6C6-3D70B88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F4330949-A53E-F20C-8502-E9C9217C88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3B0C41D0-E6BC-5E03-AC88-5C1526D224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8AA9FF12-4969-F1D7-EB51-DE8886B11A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EC2B88C4-7F28-2463-223D-3B9EC771C4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D9D7ADDA-C76A-6971-FC33-DACFE1FAB64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E2702F8E-1EA4-C8C2-530A-5824B38ABD62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0F8F75-16F3-ACBF-A511-172485A5E2C8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0A30064-F3ED-5D8E-F3DC-3239DB78EA83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0FB0701-1ABA-25A5-9031-F3853FD19EFE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8F3475A-45A2-1D83-C953-8B4B5842748B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8A8F239-73E1-2DB4-C7ED-128ACDF67A2A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31864648-1585-5287-B737-2D6CFAE76FC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FE82D494-13A2-5310-4288-7A49BBC58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86898E78-C13D-096B-B835-6694169D55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E9FC6386-BDA5-C748-77D0-2060A9F221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47B873FA-4026-7C07-B8C9-EAE46C06F0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A6CDBF35-6853-F0BC-51C8-F59B1EAAAF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DEB26740-31FA-A551-4529-E01B45DF88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451EDD51-FA12-D25D-3448-2323B8A56C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8090D48A-B565-7E19-A645-60F08E6B17AF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742721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855FBE-1CBC-369B-2DC6-F659AADDCF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59517EA-2EB5-0E7B-DF9F-36C216CB82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2D8C1A5-51A2-C9A5-6E3B-2E020EE415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BD1ABC2-C86D-E051-98F8-7F36FFD33E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79BDD0A-6DAA-D08C-51F0-50B72F30DA15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19775ED-1017-6B2D-D645-EF36ACF2D4A2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92582D7-A49E-38E5-2F56-CBC8428FA329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983852E-14A3-F422-8B1A-55405947715C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F1B616D-3747-7AF6-8D3B-26B5A786A628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33EB0C7-0BB1-CFD0-8DE0-B84965493D4B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71AFEBC-2F41-29E9-DA2C-E2C8CC124359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822DD79-665F-C091-1D45-ED5437508FE7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5FD6139-5EDE-8F85-016E-6B27CF104B6B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855284F-80F4-0FEE-756B-DAD7063C77B4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DCFA6F1-B109-20A0-6473-99C3F62203B0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DDD4814-B531-8875-F60F-A945617B6DE9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B26D141-CCA9-69A6-FAC7-85482C62E4F2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C3F12FE-027D-5349-056F-4B89D9BD179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23DB243-EDF5-FE32-AD1D-DD41097E8629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EEDEDD2-D7B8-3CD5-1CF6-3836F3D6BD66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DDF0F98-99F0-9B78-BB20-A9EC667D4A56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DD34AC9-BA3F-B001-3CE0-428C5F3EA991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30ED909C-A2D0-05B9-3CB7-2F24AA4F51E3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3F513007-32C0-13CB-33C3-267E6AC42A85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A76A9570-E692-34A9-4E74-88084F086801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0D45A48D-CAAB-E09E-F9AB-C911A3B04744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946E3111-0763-3CDA-EE8B-8C23A3BBBDFC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E4676744-4928-2810-AF84-39CD4B339271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C6DE32B-A531-4C88-38A0-36AB98CC9B0C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2BD8F27-3A7E-ED62-9938-6013A4278ACD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AA3FCAC6-C43C-A826-3CC7-94A150E9B77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28B69640-17F0-8AE9-BCFD-83E401F541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9C68C365-E36B-A930-44AC-1242E2086CD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95697C93-432B-192C-B07B-CE37AB39319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CBC6CE43-480C-933F-A64A-4F8B66FFB9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D365442B-384B-394E-A06D-FC69D48613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6706C231-09C0-70B5-E3D1-08B471E45B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31C11D56-97BB-750F-DB33-1C88D0309F0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B2AC396F-55F8-7701-BD7F-1B2D49E5718A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BE92D44-7819-F741-4CD0-E9B6702CC255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175417E-86C3-F310-7C66-3F4DB64D2670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34FE5DB-5C02-52FB-6D1F-91F69E2615FD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57A37A2-ADB6-83CB-33F6-62FBA471A6FB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9C1C9B3-0F6C-A357-502B-D8F19997BD38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1A75E512-5B56-EEF3-9475-85F74656AEF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F5DD4803-14EF-1D6A-771B-CBFE017134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C9CD1A5F-FB21-0457-4CCB-54FB97946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70929978-B8CB-6537-1310-95BCD063BC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61DDA647-6053-C5B1-DEFC-F58D4F82F9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5808937D-E418-9BDD-5E5F-72914BBA8E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EEC1995D-9F0B-B8B2-9890-C8F741C61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1E739A33-CBE9-E16B-E7BE-CB70FCE33D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CE6C28CB-5828-D0EC-0E86-BAD183243E49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6765053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62EA0B-B0FC-1254-A0B7-504D02CD6E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FAD8A73-890E-B20F-1578-43835FEC14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2D8C1A5-51A2-C9A5-6E3B-2E020EE415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5ED7B9D-30BC-B583-DF83-D29775340D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C80330B-1892-97E5-DF1B-61806A971C8A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F5D28B4-A45F-89A4-4893-730DA2BA9B37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74401E3-AE27-E531-1D9A-30C5433CF987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56A03D4-566E-826D-9FF9-47D3609CAEAE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5DBE8AD-2FF3-9EC8-98B3-C7E85F95D653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EF00039-7F79-15FA-A141-63FBE83A32B3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E142C2E-5AAF-D9EA-9D13-D2F1B05B2D0F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DAC20A4-AC9A-5889-4E2D-CC67101E5EAB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436461D-4593-AD48-0462-6B107F8FB759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F62E240-4374-3B7B-6E1B-BE7C175AA89D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53A2769-C054-DE83-CD24-78626C34B495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88A5E9E-FC19-D10B-976A-70179D52A970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595D5BB-672A-306B-910E-C61B13E26C3F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A2F30D21-F1D3-D2AB-DA88-E88204F4532F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1C07BE4-CF9D-AB4E-5165-26EAE810B90D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C7D7851-5177-9749-AF0A-9ECED821F1DA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3D7A9D9-FB88-A61E-C666-7D2288E21C38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B56A2EC-46B7-0D81-E388-048B7B71C9A9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1CB7452E-9E2F-79C4-C17B-89EBF6D0E993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9268FF0B-BF28-34E2-D797-46BC05E7D739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AD5D5C04-FFD3-907E-44C9-A9B1A7578D1F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8F040A43-0239-35DA-9C18-B9592667DA1A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4B529FB8-2AFC-9935-AD4A-40BBD31CC148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8EECC909-9E7E-6E01-27A1-E4A9DB1D20B1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41A035B-02D1-2FEE-306C-2BA2AE5446A9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6B4D379-5F70-26E2-B191-ABA6F2834EA0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29BF8C1E-02DD-9A31-B214-F56188AB44F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46EB8D9B-A5F1-051C-5EFC-3EFBA2203B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8A81CF9D-72C4-BD3C-80C4-CD919F9DB7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E5E363DF-E90D-814F-27E6-DA3D39B7D4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E72A5B5C-4877-D018-EFF4-BF5D927E67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CA6B5F4D-F344-124F-0D49-D88BB94B72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E16563F5-374D-D043-F9D7-9F85978DAE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4D162D28-7763-81BF-3988-725E6B93C0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B1AC2231-F051-53A4-E31B-049A8B0BCEAE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BE6FD52-DDBA-13F6-9D83-DBE0EC01CC9E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A30CA9-2454-9B8B-906C-7718B50D3466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1627D6B-517C-2287-5FCF-72710960AA4D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0435108-6D1C-F007-7635-69238DF56321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E57E8CA-8CE1-41ED-739D-C1E29EED65AE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F90CE7DD-335C-1BEA-B340-AC729CD4F1E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D18E7605-3184-8B5B-2CB8-68C274F2DA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D5BDD20A-D9F4-2060-39DD-A0620F764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1FADC01A-DA90-7EA6-CDF1-E08127A939C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6D89E506-09EF-369C-FF6E-06AE0D009D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6B0D8BFA-FCCD-AC85-5C97-78F39F6902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30140447-5A29-2332-1B5A-280EE58EB0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ABAF9EB7-E647-1753-4533-8896AA8FA4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FC18151E-E056-BC83-209D-312214EC7E60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2960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246121-A88A-9FED-850D-27C33526FB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F09579CF-CC34-8C7C-089B-C4EC78EFDE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2D8C1A5-51A2-C9A5-6E3B-2E020EE415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DF069E6-9480-977E-E0A2-C16ED02B81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E78FEAC-F5E1-7710-6B29-65E3BA119208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3EA6078-3406-47D0-4E87-AF7AC4DE5DC2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8C93434-AAB9-2A86-8B70-6F43CEA4BD20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606E9C5-511E-F80F-2D85-2BA67A2613AE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67D97F2-2FE5-A263-65FC-4A038753A80F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B7EC37F-9996-0E30-5B0A-787A86BC1E88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F75573C-BD18-D368-81C3-563CB429F515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5FC266A-A4C5-2E04-97B4-D18567734C2F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EC9C5F4-393F-E39E-0886-B633E951770F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63377A1-1BCB-D52A-4015-E10C1B8617CF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C390189-05C9-077D-431E-D5CB5DE90024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78FBC23-2C7D-24DD-9EF2-EFF25C3E767A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74FDD4B-E2CF-8BAF-4EC6-E95C8643CD29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4325FDA-C519-0461-6B77-7CA685CE9B6D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1F16D0B-BDA1-8247-12BD-6BB1CC58481E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04BBED4-3473-7FBC-B7C8-92D448A74A8E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48BBE74-A7A5-9CB0-A35D-7A9AB965E1C1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21621B0-6081-8E01-AC8D-FAB5428C5B78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8BA4E994-7492-AFFB-6865-015C3BC3C7E2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DAB63904-C805-070A-2777-49EFAD8F782A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6A2B87D3-1A07-DCBB-2FA0-C5CFBC63B9D2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87D0F2CD-8284-5FCA-C645-5AD1E86DF9A7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2405A897-149D-6179-9960-578918BB3947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FA311C42-5C88-234C-3D19-C6A0DB6EA94D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AEE329C-A8D8-5858-5FB4-93379DABBFD6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65C69DA-6776-83D0-5DCF-9227A8CD356D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9F375233-29E1-2BC6-DC28-8766AAEFFD5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8A971511-13AF-AC93-3397-1FB823A328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62E4B1E3-A3BC-A207-4CE1-648125A14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C7356B65-54FE-953A-BA4A-93CA4CFA1C3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CE8220D0-BE54-6A6D-DB75-246FA960C0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E758A6A7-4C28-8E5E-B382-0F2C8F1590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59BB6A8B-D93B-B8D7-3D5F-8DD76252DF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7D3C8B48-EB6F-B537-A592-2E2529544D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D1006DCD-4C49-4A80-2BD1-E7DA297DB3F6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984BAC9-267E-9C34-A366-ABB15EF89E29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24D4D77-1B4A-76A8-6803-6CA8C8B164D6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16E1D5-1940-5245-E06F-7B3570B3E461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39D2A17-D99B-E61F-6D26-AA9989591221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ACFEE46-9975-9C26-0915-6EFDFF61FCBB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4BEA7C3B-E482-D810-AD74-B05FDEF49CB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6D510773-8F20-3B3D-EDC4-7E6393A92C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C5DC5AFF-17F0-1193-73DF-718B61A384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F0BC9852-2209-FB17-D4B3-A6221C465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0FDA5CFD-55D6-3B88-6711-041A9F9079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ADB3AF36-D1B5-27CF-37C5-8125FFC42F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89DDC47D-82BA-DBF7-19F8-BAE04B35C8D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DF863A83-C9ED-99CD-15B3-E074E4B10A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B71E61A2-ECB5-BD07-819B-6714406DE01A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615729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1A6292-BD25-41C9-EEB6-ABAD185CDF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4E84C797-52EB-41FA-53A9-C852DBEF5A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2D8C1A5-51A2-C9A5-6E3B-2E020EE415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0010943-B4C8-0F31-CBFC-88D6E14896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165615F-C2D1-BFBF-62E8-862744FF1DBF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288AF5-8BDE-BA53-3123-72B439AD8093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283192C-2938-748C-7C8E-6E243D02F6B2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11999F1-9378-7E28-DE21-3269522A2A33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00E1E5B-9571-9B31-8D86-3CF696ED039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ADE6BFD-2D32-F86C-916A-3E0344C57D16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C9A2265-F50C-6B28-CA99-C9F6930F148C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227BB36-EFCE-9B6D-33C9-7F83C2DA0AA4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A4D0CA0-A652-C4C3-B8DF-2DBD752F90F6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C621E36-AFF5-855C-A813-B115308C75A1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C880157-7923-675F-C9AD-F648AF71F0C0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A68F26E-2372-00D2-31E8-629C96FD519A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9D615FA-7F0F-84BF-D5A8-6036963A796B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7261FA2-A986-1674-C39E-704BB0ED5203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F6C4107-A5FE-95FA-F3E1-0799325D2056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1FB77B0-95D8-78D3-DFAA-920BC08CC6CC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47BB83C-45B4-0189-869D-16343061C167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71B6C3E-7D91-C813-39EB-3A201B3F7F35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18B090BE-513A-4542-3B15-CCE9A795F2E8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4BC4E5FF-F95C-9F24-1538-749EE9A120BE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98DBCAB1-B69E-4CF0-B265-0794B222567B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4AF65043-F959-BE72-8C72-5C3A11C20BED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8DBF0E2C-B88E-B5F6-3A87-A7BD347C60B9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8D479B86-7AAD-9637-D6C8-9B693035FA05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E043F6A-22B8-D953-5413-815D207D45C8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34FAD6B-32B1-CE28-1062-A5F5314BD95B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AD1BCEEA-0488-B3BB-1049-4FC2138E75F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6C903E8E-0D8E-4BE9-C203-5DB13A84D2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FAB5D66E-C65C-DE74-358D-98E92B0373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486B9CB1-BF53-41C9-9B43-2F9BD92153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EE2550BF-6922-4B94-D856-2F75EA87E4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7F3C7B3B-BF9F-85C6-A995-3E7F96962E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01F0B078-CA4F-FD30-A37A-20B45BADB6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6B33C293-E150-D8AD-753A-BC6367E8E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9EF38158-E509-B84D-7A13-15A54C0E118F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B9A0DE3-BA39-3B65-1F4D-8BC7672C19D9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2875C8B-DCAC-4EE0-D463-11F046ACB175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527B1F-0011-1F78-22A2-0FE352657EC6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E62AE0D-FB7B-F1FA-667D-444F25EC23D6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0CDD9EB-6D95-200B-93D5-91CE394025A5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FD988EEE-18F4-7577-E028-F98036D589F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B336D19E-AF1D-680A-41DA-87C398884A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326A01B6-2001-A838-7465-8D8AD9BC21E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DB437A59-99D1-FA77-C78F-C4CD6DAB575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82FB0C4A-9FCA-3FB5-EDE6-CF1CD9AE2D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C35F6A75-394E-8BD7-F99F-8E0B31AE56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04840E3F-4E22-E9E2-FB86-81060A6B1F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485FE83E-6721-D0ED-9259-047E57EB7F3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954D0644-8B46-D3BA-966C-058AE2D2833B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52228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7D3A0E-6783-FD44-DD1A-BB3F83F4D8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1122A156-7DFF-66F5-FDB5-599643E321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2D8C1A5-51A2-C9A5-6E3B-2E020EE415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2A69BF-0840-1C71-FBD0-6A00103B1A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9150718-FCA4-5DBE-BE50-F1D50F6B3E8E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FE7C9B6-20FA-523B-4E1B-5D3BF64E120C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7232E72-0FE8-F245-E2E4-5769DFDF7DB4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A916643-6F23-461D-EC43-DA36232E83F6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AE5AEF-4A33-27FF-A670-D74A6A3414D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9CACE14-BBFF-27E4-0B37-285EB7C1A48A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67284DA-A603-5062-FDE1-30AEF75F17ED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2303500-E39C-8957-158C-35D8DA486F3D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DAA6B55-36F7-F999-4B11-DB26CECE8DBA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92C3241-6875-9EA3-935E-8DBA8915517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2B5E30D-A6C5-5CE2-E364-BFF245BD5222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C2586A5-B617-60B7-3F42-F443E18C64F4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32023D8-4601-21C6-C40B-2E171D9339A2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7062C19-9055-7CBE-75AB-E8FEB3F856CC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CA83B3F-B83B-3B87-452F-186966D3E8B8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00DD366-EDAB-C05A-EFE1-2F9E77CE2361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70BF573-1169-0B04-0B4C-EFDB84C61172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B7F4ADB-D2DE-A183-0A01-C447D5DB26DF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D8494324-FD65-733C-E6F4-95B1AAB60D62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0102D4F3-6E3B-0ED3-71F6-991F2DACEE6B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FF28B5C8-652F-FA0A-6636-764B38D635D8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02008484-07A9-2BA2-93EA-6B2083F7D2D0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F68F7A30-3CAF-D8EE-1A7B-4BFF4FBAEE7A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2A3C6774-6872-708F-1A6C-A80EEF2BA273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22BC590-8107-5D42-72AB-B70FF995495F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600D26E-DA42-6FFC-678B-80D943E513B8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FEA0AED2-84C7-A490-09FE-776E21835EA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5C529720-80D1-62F0-8D04-48EFC0A951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082D4F81-7CC3-12F9-7E30-D1C5A599F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854F3204-40B6-17B9-B3C4-02DEE39B995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C118198F-0490-BC25-E917-4F234FFDDA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775396F1-D9FE-F4B9-C920-2A241034C8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6541EEF4-1FEA-E109-1652-73BFA30B07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1AE912A2-DEFC-B3ED-7243-AF9E224610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9A24FAB2-6C1E-6155-4790-B27B545D38BC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BF5E0EF-6F65-8BD2-361E-7A4A1DEBD9EB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10C5892-3F15-BB78-6C6E-2CFB45F71C9F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4C1EF97-7CCC-D1BE-CA53-D04B38D57F67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717AE57-3AB9-568F-E5C7-E4B565145119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4A51673-72A3-017D-B8E7-5E65212F1246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80AB1A21-C08B-96BB-CD2A-23A8A2D482A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B97D1E76-A9EA-0F82-EE99-323CA88E98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A7436FDE-1723-BD80-3640-1DAF92CE47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D1886446-0BEA-EB8D-D302-3179DDF6D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AF4A6213-727D-E7C4-4313-FF0729BD7B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E4AC861F-4409-E4F7-64AB-9E4C4E92E4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257CC3A4-E88A-7523-D820-CE56B92278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4DB86869-2237-750A-B5D8-76D9E91D4F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8B1DDE30-8933-3B5D-272F-3D120CEE2C5E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7675306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F11E34-2FCB-3267-81FF-0962A32DE4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36710ACA-34AF-1DF7-B1DE-FFE70C18B1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2D8C1A5-51A2-C9A5-6E3B-2E020EE415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5EB944F-9FC7-D56D-6F4D-53D9B6F2B4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CA02FB8-3F06-8CAB-943D-358C39ED8CED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20555AB-564C-4642-B8EF-94356A115EA4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F7094E4-1DA1-FAF8-B3E8-0051AD10A0FD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96DF2B5-49C9-542D-3F19-A9629F784462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5AD3C98-D93E-08CA-5346-DBCC38D10FC4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B66EC0F-3BC4-632D-62D3-C3C6B77A1B50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CC737FD-1127-E646-8EA1-7803090C2FDA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15D1DBB-EA76-E78A-0F46-41B34501385D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AA19A64-2574-EBE9-425D-B8E82856D46B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1C8B0B0-09D4-C62E-C633-0ED93BB60B10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5B59820-ACAB-C9C3-9664-FC4636420B01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1829E68-3579-300C-66DE-1631B5DA1AAE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E11CE22-34FA-2387-BB05-A1D97A513CC6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EA3DDA1-2BDE-53AD-9A69-2775B77A6F6B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D967E3C-2C62-B285-2796-4E64226BB230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F24D138-9DC2-C1DB-000E-7FBAD20AD293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2772C4-F9A1-ECB0-0F13-97EA9342D036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C31AC14-6B04-81CD-0B67-58A57699B9CD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EB63FE38-CA47-269C-E92A-E7C409E88A63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8C0F5929-F3C0-B6CF-39EB-933E6C95204B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3A9158FC-2998-7451-9B6B-85DE92744FF1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4FFC40CF-5847-4B64-E39C-3A6F14262910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141DA81D-CA3D-FC96-23D9-78781960DEB1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1C0C1EDE-3467-8513-A326-06870C644838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434099E-7590-1C40-9EF7-029D247DD916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D4528B6-93AF-7ABD-23E6-D02852A58F66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C45CD97E-36FB-C843-B23A-5790EC85840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1171395A-6BD1-C4AE-4E1E-BBA36343FC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BCE5A92C-8BDC-44C3-7936-A4D6B1E4C4C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286BED1F-3BCD-0BCB-816F-68DD650DA1D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48021F49-F8CD-D029-464D-AD0313C06A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49F508A7-7459-9296-D7F1-61D91EFC5E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282695D8-151B-75EF-B00E-FA4E8EE957C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D375003E-7BC6-21FE-E512-497C099F8B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8B63A682-E15E-7B82-69CD-1F14C402BC7C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8F5380C-7398-C450-0B06-F774993DF613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10D7B44-270B-08C4-E35D-FCB753ED91CB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CC409B1-4173-E0AF-D9DB-034A134C93BD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0C98D65-75FC-A8C3-32BB-F6A4A3A9B1B4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6FB71F6-1E19-80B3-2203-CBEAE5B88A5F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72EA2C5D-9636-CA9B-0669-E4A01F7B715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2FED0182-9E6D-77A6-974E-0BA16068D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DB9C9FF1-5BE0-93F8-E14C-0E202E117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D51F5E41-859C-2498-DD38-5A796CB9140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43B2F26D-948E-F758-E1B7-B3720CA215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802272EA-F2B0-A613-9993-98D59C7F09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E74908EB-1546-D071-D42A-8DD9A927EC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474D0E83-551B-2CCD-96B2-C1E01B7842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48A21329-84A9-9F16-79AC-86558E2EB424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9563685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1A5120-9ED8-2BBE-9CD7-B1BD0FE981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6F2F689-682A-D883-3C62-531B41F217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2D8C1A5-51A2-C9A5-6E3B-2E020EE415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A00D218-B7C6-F4CC-61CC-BD7D43BFE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9E48345-8396-B261-24AF-9AC28B460EFC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3ED1E04-F978-76CA-73F5-245F9EDB73E5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6D7517A-10DD-6193-18E0-C543002D6E4C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F7FCDDD-F14C-CFB9-ABB5-B6680931574C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8C74380-1698-20A9-65AB-3196A9C1C680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575BCF9-055A-84A8-C1D6-94D7BDDDBCDD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FCC44C4-683E-2B44-69B1-5F7462848904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BDFDB31-4B3F-310E-CB08-709BDCB58E45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C034E30-269A-F1B4-3656-BC85E714F65B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DE9878A-C53D-2FC8-7DE4-7D9B7901C61F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64EAAC2-6407-08AF-62CF-6F12D5A3A807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B293434-801E-8EEB-7FCA-F178DD85F2DE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8509D1F-4F99-A837-C8C5-A62666F83E89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91CFABD-BC47-E60C-6B15-83FC9602DFF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E4D79B4-19DB-9895-BC39-547CEAABFBCF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8CDC0D3-082F-B308-BF67-055A05410B4E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8C47C5E-8F20-3B50-F7DB-37226F8E7F13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CE12DA2-540E-C260-29EE-142D19CA4868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2BF0056B-8059-BC94-A368-08305C588E2B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E1738C79-7BE2-A270-E3E3-4A7BCB8CDFA1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0B908858-C77D-A3D6-171B-64E991C155B5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76B27090-9382-6647-720E-9A3593B4947C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CA7869B5-955A-03D2-47FE-A2A0ACACBD88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45C69015-4973-BDB2-8345-EF0226D8D48E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EBEA232-BE54-842E-A832-B38BA4DD0238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59E0016-E082-2CCF-C0B8-26792BAE8A91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9E25E1CD-3BBD-F53F-914B-2EC1541435E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E892CE94-AA37-16D2-4552-C8C4001F48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8D6FFBA4-6051-5F28-98F8-887A1BDDB95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3CB4EA3C-4B0B-0817-75EF-9DBA57B0F9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62F05C0C-8FF4-B1BD-524B-A8A2184CA3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1CF328DC-6626-3447-F37F-5E6C73CA02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880FED86-99E6-D5D3-E6C2-DD79F9C4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275DB7D8-8A9C-1F15-77C1-ABD0227B2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125076E1-2E80-25C8-EF9A-45B9B666D373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37E0A5A-170B-6A29-8965-A54F503D4829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9C1BC73-8E5A-6E2C-98CB-3C2A5051C35F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DE2FC39-2938-36FC-3BDD-D7BD13D80674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3AB1AC2-357C-18D6-B730-3EAFEC363078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23FC057-4691-B718-449A-C67522B91AE4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3ABB26E9-0E09-D171-7E5E-93B503F5D1E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C880F70A-230A-60FD-9610-C48F9D931B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7265DA4D-C5FB-305A-4435-5820AF380A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B4938F83-8F70-1376-5BCE-848CD71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689D3BF9-998F-D91A-8B97-0B5519C216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DCCCBE5A-D1AE-4BDF-4AA7-2882AF94A7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F495CB03-0D4A-DB88-6452-EC527AF177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7AF8A2E0-37A1-6B3D-7986-E0ADA26C8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6A333720-8719-CCAF-DD40-AB0AB10BA3C2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53225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AEF21C-8463-F8CD-7080-6CC7EB5442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A4F6A6E-1008-5D1D-A520-A886C21CA2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4F6A6E-1008-5D1D-A520-A886C21CA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3956A29B-67BC-05D7-6A42-24BF6E6936ED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4E19D924-63F5-3291-94D6-9D11C38B5B77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F78E84D7-A96F-AC98-53BE-4601AA23DB5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FD6E91E9-41FB-9D54-9FB8-707BDD43FAC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4F6A3024-25FB-B334-75D4-681E1F1F864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94321E5C-39C1-8F2F-50E2-75794D4C71B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2091D387-FE7A-CCF7-73A3-DEF25780118D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C2FE0FFB-7BAD-65B3-E2AD-BC87BFED929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76AB0F08-F456-7B27-896C-7D842D5CC19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05062DC8-F015-B43C-AB2B-64F185885103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AEC6CF3D-94A3-2EA1-8485-61721CB4083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359B399D-E50E-38C6-C95E-F9A41A415D4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2FE7326A-D79E-1549-A027-C2109670902A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8C24EB52-2D2F-01FF-277F-FC371967CFB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56DD0F2F-26CF-9287-9CBD-7D2CE8D3F8A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61EEEF0A-B1A0-1005-FE5E-0B3ADE9E42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0027988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1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2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2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3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4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4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37291DE0-3B17-64EF-694D-7BFEA09BABB8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1F4EC1C-414B-E9A6-8EB6-817DFE3DB79C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C4B37FAD-4592-473C-B41C-EB7073C1E539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5EBB617-2F84-08F2-ABBD-D6E250AA9E24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85942F8C-DB2D-94AE-B9A6-17438C3784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Marketing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7EDB797-7FC3-A727-D6B5-B7838CCB443C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AD891B9-1637-7AE6-2B8D-CA9ECFAC6F3F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B824D3E-A3CD-A006-1BB1-BC8AF71FA45B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E37715-8B17-EC38-8193-928F68916075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BC9CC5D-7E11-5D77-2D7E-7A2630BFF958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7986B34-1F17-9D22-9F67-D80BC6C3D647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7591E6-B889-DEE4-FAFA-DCC6E9F98265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6572FF-04A1-9363-C43D-2AC57946F5F6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ADD610E-BCED-41FB-D235-61CDD8453D1F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C3E2653-33C8-7AF5-82DF-03E1D02080E5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B09599B8-4A6A-3C7D-197E-D61EF90DC015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74BD2FCA-0AE3-2E6B-DCB4-C71C814A8CBA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698591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44F8A8-8529-37EE-143C-B7FC4AB3A7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DF24972F-AB54-C3DE-F1C1-F768A291BC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2D8C1A5-51A2-C9A5-6E3B-2E020EE415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AEE1677-B1DA-CE2C-344E-C8AD8CF436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FC22BD7-FC0D-327B-1B61-1FA4313573D3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2007510-4714-9D4B-9E3A-0595E43C39B8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1272640-1CD2-8515-6B85-4E6FAD2537A2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099F493-16CC-F7D2-29AA-4A8BE4C8F577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AE1C130-86FD-F063-EE88-3EDCA08E26C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E50468C-A872-D0C0-D83D-91762EAC2101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5230D2D-5906-BCA3-AD95-CD1EB74C2D2A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3A5EFDB-1010-5E36-1F51-A51E0F3DB286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D82157C-0B3F-9179-34F9-9B11727BEA9B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F10B0B6-2B38-DB57-8B66-5B0913F43E5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ED0FF8C-5E70-2455-87C3-2A5515D82371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D3A966A-FBCF-63E5-34E3-4ADC6C89B8EB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BDEFB9A-6142-344B-D96D-D2AA944036FD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3BA972A-3483-0312-2C5B-0F635B84EF41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D2F953E-1FA3-5F69-7179-268FEE5BB3CE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FDA665A-9545-5430-6B7E-64B1A9173770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2F6978D-0814-B8AB-90B0-12303752F2E2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E381E26-4AB1-2393-C26E-01FA407CCC1E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0BCF28DB-0207-3836-C8D5-95FFEA929F6A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8EF8AC2D-7E4D-31DB-61FE-406999E662D5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60A9D7D6-42BF-E981-AD30-6E88908CE7E6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029C7F85-BC68-0ADF-5706-32073A767532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58313201-D03D-09E5-CE25-0B6569A11608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6DF18A85-91B4-D34F-8ECB-1151B9238DED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2182A37-A19D-C5AF-12C6-D7F4F7B436E9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F095E83-8117-5A45-21DC-B1CA4E347D50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61C7BF6B-4BA8-A2CB-362A-71D219E1561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0BAAC8DA-7173-010F-75A5-40CF38F9C9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571685A4-0128-CC08-6E54-6B4AAF618C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5FCB0E13-E6B2-7A17-AFF7-75F8F9F50DB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0AA9C8CE-A354-013F-46B1-C4F620003F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CDFBA126-5905-A5E4-642C-DCE23F4809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D3221814-F100-4E7D-C863-F029DF375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776DE9D3-33DA-7819-20E6-5E8ED427C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EC096C75-7849-58F4-8196-448B42C824E3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9B797F-09EE-AF76-2EAD-3AF5D8A54D51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247A82F-0317-78E7-6366-28A2642E4CE8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F824979-D6E4-1DD9-585B-0E9B8669EF0D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D28210D-303A-6422-664F-5728459F9A8B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8B4DA7-6B8E-DE25-C4EE-E474D75065F6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39B7F4A6-E0F0-F7A5-9253-63059FA1DD2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CB4AF6AB-AE6F-2325-5466-9A841A907E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994D0E89-5B62-4660-EB08-52E2CF359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773329D5-234D-8A15-DE6E-555CAA11590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6203B559-A888-42C0-1BDB-36D17208DE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B35D5C2C-D51D-9158-F585-5301AB386F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3D74A20A-DB2A-7B65-3AA4-805C10C833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F0B0BDF2-1749-89D1-BB14-A838CAFFA3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5440037C-B7EC-7767-BCD6-59B77D218965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3312209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FCB11E-8A4B-5352-1D21-7BC10624A0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C6F3B783-4A5B-88AF-D6E1-B9A5F30941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2D8C1A5-51A2-C9A5-6E3B-2E020EE415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F254701-ED50-5105-48F4-AEC0F7D3AC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90BD2DB-C6CE-82D8-A49E-EFAAA0FDF92F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F86B35B-0AE7-0346-BC5A-597ABF08B171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FF09304-C0A0-7FF0-58F4-BB400341F183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0F0DA2B-1367-5BE3-0C75-EBB3DCB7E8E5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2D97EEA-484E-7D44-2E93-0B99B476EF82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8AC551C-B97F-BA3F-1FB0-88071DF222DD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8DD5AEA-DAF3-E32A-F1D2-ED278FC50B55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3C97A8B-BB55-3D74-FE96-2AD690E2D83D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597906B-CEBB-D714-15D3-B089ED9A2A5F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04B4C1E-53C4-C2AD-AAB6-9B347D178115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3035BFD-8137-FA59-56E8-F82163271F57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4FEFC71-6307-15D9-9EDE-4C364B62F963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A5A9FB3-356C-0271-07B3-61FDBD720748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43F0829-DC5B-A8A7-E44F-A8F5349B65AD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9C04F3D-D408-FDE7-6494-1E28B121719D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E82B982-5750-CE20-2817-E5D282B077A8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50FEB9B-116A-D578-1F60-A26136C237DE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7379746-885C-DC4D-375D-5B80F77BE33C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2436D28F-42BC-0B02-4E32-2D12D1D1B6EB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C505B5D3-4338-2E8E-B758-B34BC25D20DF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3B0BC875-FA19-6A2A-825B-C6B7FB0DBE7F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34857386-C037-CC4A-3580-8F3F4CD63224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221360EC-D325-AB5D-D241-11C711D75858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F43B6D41-FABE-BC6E-7EE7-1436B82F9568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6E1DB66-E706-74CA-240C-527970D4ED58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1BA71E5-0ADB-D13C-110A-14AB549A3CB5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5408E95D-D8F1-6031-EBCF-0B53AF2C352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1D5445CD-D5F6-CFB4-F99A-4DE8B2DB5D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23C39E0B-499F-E5B5-D64F-DA22C19A0F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DE65EFAC-B6E3-FFB2-EA5C-6F8F9B4F59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3A6137F9-6833-70D0-672E-86E870E5AD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8081C94F-6F2A-0384-90C0-530A211ACD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64198838-A69F-6F86-C73B-787402E8C0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6FB0DA33-305D-87CB-3E4F-CA7E27A2E2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FB4B0D4F-D46C-E4EA-F6D2-999CDD2ACC47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2CF57B-9B34-0B05-22CE-3EEFEDDB7FFB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A584E40-D4CA-BAA4-01A5-9D121CF0381B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DC4B561-E337-6588-4338-452F4A0C6027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742104E-CFBC-4DD7-7425-084A4C36750C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BFE421A-AD1F-F84D-E6CE-D2288A82F6EF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2A67A714-F74A-8B65-CFDE-A9B0F1B5F50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5BB30676-8648-F156-B722-621E513E76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10CB27D1-40C2-1300-D6EE-28D174957C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4B521311-93B8-C1A7-CDAB-E2AB41C1CA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C847F0D5-E9BA-DAF5-3F23-A93B89A252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9B53A0CC-AA45-05D8-9FF2-724B2CE2C1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08C31784-563E-A624-20DD-6A815D0D7BD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2A01E11B-2212-F293-E1CC-E3C9BC62E0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CDED24A0-2FE4-1B16-C412-C9EE71695370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3621103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C0AEEC-30D5-257C-934F-8E459030EC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344D85FE-1356-1659-6461-0DF347A51C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2D8C1A5-51A2-C9A5-6E3B-2E020EE415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F95E132-6DD6-4281-5F95-CED9806C2D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6674A39-B1C4-3ABF-F81A-83A906D88629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57E8511-13E6-7D9F-6C19-40C859677639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1AFD235-279F-38A6-5A2D-44F4DA740081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83FF3C0-9F79-3025-9DA4-C7DD390EE0A0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5E2A1A5-C12B-D9E7-A7D7-3D73FA62E5E6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B939A79-C732-D4F0-A08C-A8EA06B69CAD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5E97D90-1CF1-2C3C-AF9A-297444EEF774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D7E2968-F2D7-1A7F-DDD3-B4636B01774F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2A58D1C-AA3B-71D1-00BC-9769A5F45A95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12C0717-D64A-9125-E5A0-057E4628883F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2E59796-23A8-2E48-0F61-5B4DE8F8D4B1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6F85C13-449F-90BF-5181-1EE0DC01726C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7572C08-DE15-FBC7-1745-881E99E508F0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748D35B-4BAE-63F3-FF95-A49698590678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0B3A9FD-4BC0-22F7-A923-2E0FC67A8B63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C557F07-B844-0AA2-1543-F88E6C81360F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A2EE26C-82C9-DBE3-0EA1-A129140AB968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CF7D7DF-864F-011F-0963-9208AF3F5ED4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67D30667-5CC2-5C3E-37A4-957BE803E744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DE054D81-E5AB-F42C-4E22-8899CE6B6950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9DF9EC45-D313-48AC-EE45-24E9B8E55C51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F3DFA23B-A24E-71D6-60BC-42A698A3EE3C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946E3733-4973-E5A5-08FF-20229E6D4753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27F7649D-9DA8-C43C-2E47-C26832DF05F6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EE15689-C3EA-C30F-0DAC-BF7F817AD85B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F862AD5-B852-50AC-D644-405F7E30C74E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70B9AF9D-DCDF-FE6F-F335-18414DF338C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08381086-78C0-12DB-C830-5813F981C7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3968B248-4975-A551-36F8-4A011F2B17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65158A37-D653-D539-2040-1F1DAB3EE3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B90D63BD-E5D9-D832-265F-7231601ACA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9793895F-3EF0-DFCA-9C63-4EDFB203ED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9E8056D0-CB6A-E3A4-852B-A402CA713D7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37273040-DC07-9FF5-4C82-405BCA0CF62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39FEC756-94D2-31CF-A355-55F88D009DBF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135A8DC-49D0-AAE8-C96A-F313D626422A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8749F9A-ABF0-E609-41D1-61E45247CD39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B679289-EF3B-3830-7700-D8C88EC89DD6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E50B98F-CCD3-0874-07B4-65CB0B3B1855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0DEBC52-15C2-E85C-414C-67540C5B1851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2BD22181-F36F-239C-B4B6-2B651FCB3A2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4AA2688E-AEB3-0AEE-49B9-A168B99919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3B556C41-F43B-65CA-AF4D-8083EECA1C5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9DCF917B-7C6D-E5CE-8E6A-D7CAE61A3F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9CB69FCC-091B-3E9A-D966-69AAD9F454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0332F6C5-1D62-E34E-FB68-512AB0962E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BA8F864B-A739-2AAA-0AEE-8E61EC0408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8B1D95DB-62D9-6F3D-3EB3-2ABF73160A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D1AB8633-4A90-904D-9F51-440300E0B773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1752210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B54068-B11E-C520-F9F9-7201F215FF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F95D110D-9465-7172-24AD-8B04C394F4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2D8C1A5-51A2-C9A5-6E3B-2E020EE415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7C61FA2-8592-63B7-A69B-9C96B5C1DC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BA8BFF0-0BA7-84C8-42F1-6FB3D0722884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6147191-1BAB-1C76-64A1-15E9921DAEAE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A5BEC16-D76D-1D7D-2058-4E67A5B50EDE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D42EB30-6D8A-277F-B689-AC7BB4AF5580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23A1211-19A9-A8B3-6334-E30AE5C315C4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7747A8-E85A-BC36-FAA0-E2F1DCDA6E3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422BC2E-AAF9-0BCA-9B14-0E7DB02C4C38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9941F87-F4DD-E7EC-337B-6602D874CF0E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B680331-47C8-2445-D9BE-0830DAF65949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2987AC6-C3D4-81E2-9086-906EFAFE5A72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00B363B-EC74-6F96-AAFE-295FF5B8860B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9088C7C-126D-8574-BFE7-5A8C2CF6E9CC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1C19F19-DE75-6FD9-5E62-5AE153547D87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CFD5EDF-BBC7-2667-223A-04B76D1D9A4C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6DC8D3F-B20B-7330-4AC9-59055A8E2D58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C67BDE3-A77C-4880-79AB-40E1BB162DDD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82A0FD9-3E2A-4B68-7FD0-811EC16106D5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DA604AC-236E-F23F-281C-A87C7A81133C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30D66BBA-876B-9E8A-9093-94AD6EB49299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394C174C-6886-9FFB-99DE-599623AA508A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3D728392-EFD0-D444-6F25-7CD1DF1616F8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6AABD8BE-5625-49A7-1973-F1196F23A1C8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E087CD9D-28A3-9066-15DD-E402A61F7E99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56194853-282D-463D-5C82-3DBD40A1AC8C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9732F70-D5A9-8DE8-85AA-0BEEFF5DE1DF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C3B2A07-3A82-1D9E-2127-30E519793A97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BD0D46B0-3B38-501D-BBED-731B29C4584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0AC36D9C-A45D-C96E-F75B-719BC8745D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97BAF7C3-D27B-4C4D-6702-D695A353E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304BE218-1E42-DFD2-4D26-16921569AD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86EC8625-B085-23B5-1EAD-95156063FE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17F65020-63DF-2C9F-9A0F-FB63062050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6BAAB35C-9E9A-CB02-2AD8-52BAAF8742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DE6389BD-3346-FCA4-7935-E05A2524DC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C914E752-24A2-A5BA-2C33-BBCBC99E8208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662F191-47AC-DA69-9164-A68E652E9A19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0257222-9BE1-AEAB-AD66-C81C0F40941A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F55C489-DBFF-EB8D-D502-376E8FA1D2C4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8C12C4-2418-3B1D-1622-28D55AACE47D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8A4639B-3E41-1035-01FC-3EFC733BF7E1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1225C350-C77C-AD83-29DC-2FE48AFFAD5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0319ED81-9F57-5240-DB2C-A435FC2B72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9BD2F99E-71EA-FBCB-4047-E315D6F5E15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8838AAB6-1109-9C99-1AA7-BAA57EA37D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9986F519-ECA8-2835-659D-87F317C9B5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8D888B60-2D65-C309-2364-5B752F1E41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F1AAC896-9A62-8145-2531-6192C2EA72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012A6E6D-A0D9-7316-91D5-C1FAA1D65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8D9BA212-D61D-538D-87DB-42A9D7EA3A5C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8553182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171628-F0E1-29D8-01C5-836AA91382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8FB880D7-F706-BE39-BF86-4F553873C4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2D8C1A5-51A2-C9A5-6E3B-2E020EE415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E156ABD-B0EC-FCBE-CF97-C63D38D37A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9976493-2937-3099-DAC6-206C29AD83F7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6477744-DEDF-5222-C343-A9BF64290BAD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712BA43-D5F2-FBE7-0BAD-591935C3313C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25066FE-3AAE-E805-502A-EEA35DB2F1DD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BB84860-DCC3-EE24-4BBF-B2CBF91851EF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25EBD2C-01BD-D282-7A23-189908CD6270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636027C-B37B-1A09-9801-1551DE4E1F27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F8416CF-4E12-0DF4-413D-45CF5D86B2E7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343AEA1-132C-6604-DC62-9809DED9DAEF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E285749-0193-60A4-FFAE-A71BB6B5B42E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050F1CD-9F47-F831-AA8F-8E0AECA6DC2C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14A4EC7-FB80-66BE-1F1F-88339A64C7A0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8CF112E-584B-DB0C-40A2-EC3BA062075B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ACFB4A1-C877-C481-7EC6-1577D9A72AB5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1013185B-97F1-6B01-47A2-34477001EB7C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D2C196A-0E7D-D637-CF82-45299746C46D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FA75B50-BB14-7456-DB9A-630914E2FD94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A4DCAB4-308D-FC2D-8949-1A3A23B392A4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50473BD0-4577-1B48-7EF2-FFEA1747EBC3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A8735886-2DE1-2293-89B5-64AE9A9D3E4B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D748D278-F689-447A-4F58-37A6EBE20EE4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8DC5EA0C-A105-58E5-72E3-609131CC101D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40694A31-C3F3-AD23-2105-5ADF81FEAB5E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8557B4FF-7E48-C5E5-746B-A37C8FC7480C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C761B32-2624-DDDF-5828-2CE3F7A6BA41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5C896F7-B0B3-718B-9D9B-D5E92F351BC8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7E03B79E-71FB-0581-4D9C-543881BAE3A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6B29B3D8-A607-5BA7-05D2-46BA0D2861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21DC2428-D08D-24BF-3C89-BC9561F3F2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17D49CEF-312D-8B60-3D5F-4E9288F5B6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5B122F92-7CE7-EEA3-0E7A-FC14BD0CBC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C286F73A-A4B8-F0C3-83A9-E4C4BEDF45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960B9AF0-70A5-8490-4793-3A96193E3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4A28EF64-33E9-50B2-EAE2-83DE55F672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D3C24CE6-B4AE-3C86-CE78-9950731F5391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54976CC-61D1-A9E2-C3C0-28FF364F83E6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EC71532-DF0F-B9AD-F949-4A46C898389F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57B4D64-C339-96AC-8B41-FAC9CDD52F60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9282799-FDA9-8E00-B0AD-A80200A8DBD1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7FE44FB-3558-2A29-CB42-F47B40E91FAB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F695F98F-B049-5E4C-EE4E-759523CC871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A4C07FAE-058A-ECBC-B5B0-5EA652F1E7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911E7CE9-9ECA-3FF3-CB0E-1E084FBD3D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F8B47AA8-77AC-5FD6-F4AA-5D024A0E4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2FCFC471-0706-99E7-1F56-D3BDB90733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F07B72C9-88DC-5372-AAFA-2D683E78DE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88251025-BA25-AC4C-9ED9-F0535FDC5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F8245A86-C6A0-962D-A9C7-1DDCA2FA0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C1B16E7A-5ACB-68FB-52AC-B29D2E5C0CD4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0695791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861778-FCD4-C063-8A09-1B2D6E1925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80314A4C-A7BC-3DAC-92A7-189C1D909D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2D8C1A5-51A2-C9A5-6E3B-2E020EE415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BD7395-205C-27DA-AE41-7B4853B490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46B3D53-590B-6523-0CD1-F4CFFFFCDFEB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080C84A-4317-21CC-65F4-78A618240D1A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ACE19B4-337F-F206-B4D6-424E1608912C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6F12D36-DBB9-A6DC-9590-B2D7E26A5439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C41B9E3-3617-22BA-FADD-EB2E0A1C5F0A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D9D6E01-A22E-28F3-04D7-8E921CBD5AE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0B6F5A9-5D0F-DCCE-DD18-5C61387F3EC5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626EE02-39A7-C1FE-B490-8FA759E0E92F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AD0FB4A-410E-CDD0-CC59-D9B132B9B1A9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8BB6CFC-C940-426F-1354-0C83D736EBB7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585E376-E440-5E85-FC54-704B5A809A42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343AF6F-286A-1F4E-12EB-63CFBE4DA232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E35C817-B914-0FD2-86DA-81EE7545E989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4A925F4-4AF0-10A9-4761-BB168E6765D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1A53D71-5FF1-E2DE-C597-6A56CC10A60C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CD0768B-078A-35D7-4A4A-0D24216F96C3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7EFE3A5-7C93-A3D0-78D0-8E4FE51E971E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E05977C-D1CF-303C-EE30-D2DC5EADB90F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193F016F-3C1F-3AB2-3136-CFB78839ECC0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A9E539B9-B5E7-3C89-3D33-4650E1EA69CC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4A4A6F53-6CE3-5A40-6C7D-B7BC240B50AF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825353A8-D280-1862-E69D-5065C3E8CB54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3BD8F075-A8D6-1A2E-C802-5E6F1B700B52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B96C5185-0D78-1281-9F86-3CDAF2310CE1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D9740E8-B6FA-ECC2-9DF7-99F6BE7162CE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D0B58B0-3916-72C8-0D54-5BA853AA5124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A8274183-61DC-6E52-E5CF-C2C771C23B5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ED708B94-926C-26C5-4BC3-AD073E962C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DDA4A2AB-58BF-2394-E458-94B99A95C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91B9F6AE-C4F8-7EF1-625C-228C42AC70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FAB85FC9-013F-8159-F534-EA9A19CFF9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F5DE66BE-98B7-0558-B3ED-566FF27A1E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5CC8311F-D9A8-7E68-664A-79D1038A1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A5A3399C-C7E9-4A89-2CA2-A62B2BD6A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3C32CB5D-780A-D8D9-E73C-9E1679AF8C5D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2D38C99-2B3C-597B-B856-2DE3114059CA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A327E84-C2C6-F796-0B8B-BBEE250ED1FF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B5AA47-903E-8969-CAC6-50B4819838B8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7B0676D-8DB5-59AD-91B1-A82EB826F171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54D790A-4B1C-6D0D-9CAF-BAAA19E9EDBA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BBE1A8B1-9BED-56A9-0EEF-AEB8ACA496C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03275A32-AF56-1399-08CF-0D9CD50BE1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C678F5F5-EF9D-A4DC-7AAA-BCA22AF5E0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155CC7A4-BD1D-58FD-75AB-9A6640EFA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757C5E19-562B-EC90-BB88-1E4C3D647B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E47C045F-15A6-DCF9-45F5-9485AB23A2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11C30D8F-8EFB-B176-8542-ECEB33B21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4D9EA276-9456-9DAB-EFD0-395B15943F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734A56A5-731E-CF8E-C536-BCCF1532FB73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310573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DE2985-A1AC-FD1A-B30A-AA00C88481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39EFCCD0-3A33-5334-F18F-04869905F9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92D8C1A5-51A2-C9A5-6E3B-2E020EE415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6903C3E-990B-34E7-74F9-94F98ECB46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8903FAF-324C-4248-7261-E7E7CDB3B277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445C0B1-55B2-9B09-EDE0-45C7C834B7D1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E75DB4C-6958-5873-E6C8-B354522691A2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CE66A53-59D9-D7DC-69FC-8AF957C3E6C3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6C4FCF9-A734-3BEC-D9C8-EC7EB070648D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5CE2EF7-4C1E-E0C9-AB53-7195308E12E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C1ACE5E-EF2C-6767-C1AB-84865A974D46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9370C66-1383-D815-AE78-D6DB71A14F29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8C85294-9A73-53BC-EFEE-33DB25D7757A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FC4BDFD-E2AE-6096-74A4-9938F6D8AF1D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2DA029F-8E44-43F5-B242-E3437133D295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EFE00C8-B67F-3973-3D7D-CE992AEC4B8B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A1F9238-F3C9-C246-7ADB-FAAABC616BA9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ACA6BE9B-36EF-BABE-39AD-7407B54D566F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F67BB8B-9F18-E2F5-8BF4-5276BBC9C54A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1D95549-DBD8-4861-A7A8-45F9739655FA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48A379C-43BF-2BC3-C121-63D84EE27DA3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AF356E0-45BF-9521-19E1-1ED94CF3BF7D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3247AA21-778E-EB1B-4F44-33F6667F32C0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34D911DF-7E01-E4E3-2764-6F1DB51D4E87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4093FDB3-539B-ED53-B22A-7EEBE83B9BC2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90FB3C01-AC68-7590-9724-AF412BCE770A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AA914E91-6BC9-260E-B8B3-F7BDCA315D3C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80EB04CF-F845-0E9A-FC77-41D487BE56BC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C88A6BA-EBE3-7737-77C5-62213058CECC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9045D03-101E-166A-7E84-B1F840891EF1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DEF81DF9-2F4E-ECAF-A099-E166D580546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588C7EF3-3FE7-9F8F-1922-98D3C83B6B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08075103-2190-865B-66A0-C108A68A8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AA250B49-D11B-9533-80B2-BCEAB31544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386DFB17-D793-B23A-4D59-40230673CE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23A0868E-432F-9517-8B33-5BC0EE9A82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1CCB6E8A-15D7-383C-DB4A-FD624B055CD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0126FEC2-6BA3-44EB-9D55-AFCD08F3AF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D353B6FC-ED24-635A-F780-55C5ECA1960B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EFF2147-1AA1-6316-36AB-04DADEAC32F0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AEA7D23-9076-3BEE-477C-83F12710E9CB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19B7EB8-2F5F-B431-A91B-2E5FCF2DD8BD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E74BE86-E59D-2769-3441-9724EEEAB040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D91FD84-E2BC-F75E-0302-77D4626E1CB1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E09653A6-089F-4EBD-162D-C2C401BDBE0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1EF28D6F-34AE-6654-C7B7-538AD0F688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EE3A6A43-F59E-1325-F5D3-B4252C98F9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A1C9320A-D8A7-44AA-F481-1FEF709B36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01E299E2-E0D8-F6F2-F2B0-E4260B1E5C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DE76EB61-BF97-CBF8-7D35-E4B0C3A47F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EFABB840-4DC6-73EF-5492-1813A5B254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3FCE34DD-3E9C-B797-AAE3-6C1C2865AB6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C5E14409-D575-723E-AA8F-B38B78047E17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442135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86342C-A0B4-C2E7-A9F5-5A8EB5DD41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CCDC286-2443-05A2-C361-F93A0F4D32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4F6A6E-1008-5D1D-A520-A886C21CA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8E50EA6B-0B29-28AA-2B8E-071BB0D68E86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30FD4A99-9AD2-B472-9EB4-E9AE145B0B59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199FD094-895B-59E5-9B76-780736E615C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D0615320-02D0-9BEF-C7BE-DE5E2900677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952F0F24-5D25-6F13-53C6-8C3A7616E8A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E13F69A6-71BB-B628-67BE-787757A90A8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2E80470B-E50D-A2B2-8194-9E5050B7A237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726ED335-0B0A-F7D9-15FD-F45048454E5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04B12264-664D-D515-77E0-C72E1CF1667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87C0D4B4-0B64-3F8D-1C01-30B4EC525292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A54CB3C6-4CAD-BBA0-34F5-27FDDA733C2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2C38AF4A-4B8B-2677-B8EF-71E87296071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993FC751-AE96-F1B1-121E-9D4C36D6D5B9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8863C1A7-5DE4-4C9D-EEBB-53F3246BE8E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CC186444-C743-B7A0-A84F-EE1CB1CA773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E18829CF-3146-56FB-3085-331A90D2BB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0063121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5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5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6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6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7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8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5871EC61-AFCF-CD04-AFDB-89DD2A7A8720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D5E9423-BB5D-B0B3-6C15-C6B325AB3DD0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EE3AF074-FFD9-0C27-F8F5-603B2421BAAF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D27E7E7-A33E-C450-361B-F924849617E8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646D16C5-DFCF-956B-515F-B3C0A8D284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Marketing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1A549C5-6E42-1845-5713-6961BF0780BE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78F965F-B863-5222-25EF-B87DF4DBA240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E5D2D2-CB0E-842D-16CE-127C21D9265D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02B0D9-1FAE-6E6F-DE80-A92DE8619309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2B53D44-439E-71DA-3298-B97DAEDF9470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417FAD7-31AC-3F9E-00F6-87A5C6B1DC52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F59659E-B8BD-E01B-A240-C154C65905F4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5322F2D-5BFC-12B5-B978-F03B8AAF32D6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42832CF-F615-15C8-6832-1E43429A4500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A72C989-DBDA-1707-D5E5-62B131847A97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46A8C079-3411-8154-E0E4-D3E18D59EC21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438FAEE5-A650-DB8F-6747-9D121E95831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43330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F72333-6357-B0A0-B3A1-FBDD5BB329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7724433-6945-3159-00E7-D7A96B5357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7724433-6945-3159-00E7-D7A96B5357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6FD1B77E-862E-42C7-75B0-FFA7D2C15389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429C950D-0690-7067-7E24-041EB31CC45D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B7966AA8-C342-F97A-0185-ADB705FA57D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277CAD65-1DB4-4E6F-596F-6D4B35D2A38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76AEE900-A837-2658-634C-FF064EE578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76FD9BF1-5F37-1551-4E64-A7A65D68118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8A871FCA-EB93-42FB-5EB2-988BA5142861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B06EF6D6-4896-B9D4-A405-86D202C3E4E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D80E77CF-C03C-3014-A0C5-5EE975F5AF0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5B303064-1ED5-4C7B-5CE6-CA1B4559E796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41C8D23A-B055-F099-DBB8-8C3B60E703C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078D4006-F6F6-C15C-C418-4372B41BE8E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9ED002D1-09A5-8A7F-2A0C-96B1C40B78B8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13A474BC-3184-8848-CE43-0690A5CB782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A5F49752-36DE-1039-A449-5CBCC8EBCCA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6D2E4698-2E15-95BD-E158-3854D2D8A6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578824"/>
              </p:ext>
            </p:extLst>
          </p:nvPr>
        </p:nvGraphicFramePr>
        <p:xfrm>
          <a:off x="474631" y="2071726"/>
          <a:ext cx="11215722" cy="2344603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1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2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2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0%</a:t>
                      </a:r>
                      <a:endParaRPr kumimoji="0" lang="en-US" sz="2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3}}</a:t>
                      </a:r>
                      <a:br>
                        <a:rPr lang="en-US" sz="700" b="1" kern="0" dirty="0">
                          <a:solidFill>
                            <a:srgbClr val="000000"/>
                          </a:solidFill>
                          <a:latin typeface="+mn-lt"/>
                          <a:cs typeface="Arial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3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10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10/25</a:t>
                      </a:r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000">
                          <a:solidFill>
                            <a:schemeClr val="accent3"/>
                          </a:solidFill>
                        </a:rPr>
                        <a:t>100%</a:t>
                      </a:r>
                      <a:endParaRPr kumimoji="0" lang="en-US" sz="1000">
                        <a:solidFill>
                          <a:schemeClr val="accent3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  <a:tr h="12635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4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kern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</a:t>
                      </a: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StatusupdateUC4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9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09/25</a:t>
                      </a:r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000" dirty="0"/>
                        <a:t>80%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29573239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9450F0E8-AD20-1977-4A38-C7ECC1706DD4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ECBC078-866D-4F90-1FA5-95B349596B47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4907FB0B-A1D4-2269-580E-0960A6369CD7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0854270-4B3B-CD00-C8A1-7EE2E6BAB027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C37FC5D7-9ABF-5A05-8829-1AC0394EC5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Sales &amp; Post Sales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ED88C5-BB7D-E97E-22A4-EE58B83400B2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F724750-C28A-B36C-148F-AF4810C69801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0BB4BE-D0DD-706F-26BA-D8A710CD15E8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F2711C2-B185-735E-D8EC-CDA8D137ACC2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F830A26-9FAF-A3FA-2DA9-001707F82EF1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F9A3BB0-6185-030F-BC58-E6FA0476867F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BC4668-C1C9-B44C-EC72-76145C87F160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61DF00A-253A-AC8F-6848-A4FCAC50DDAB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020C7E8-1662-CC42-7ED3-B6D552838D54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57A7C6D-DF53-E787-134B-B12A79A966E8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8D227AF6-8EDC-DD56-DDEB-4123FACDD882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099DFDFE-2A34-7FBF-8134-BF96ED6F6C8D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35260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491C69-B3F9-4675-BE68-25486269CF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1B019D-1D21-D0D6-1396-16C6E5DB7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1B019D-1D21-D0D6-1396-16C6E5DB7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FE982250-5189-4FF9-B868-E930AB863E9B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BFD4EDCC-1766-5D36-DBCF-903CEBFD9A60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34D2EAE0-773F-3675-03B0-2538085C5CE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0D6F35DE-2C37-A6EF-D09C-89053BC89FD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E4F2543C-E153-ED76-D088-45B1EE7CD7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D56F5F30-9F87-3104-9CDD-613B5051685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AD8654F0-DA2B-B726-CF97-77B6203FF7CB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FC488EB5-37A1-AA84-B5AC-08C07C3D37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01F9E319-BA01-D6A1-6259-5039526E8FE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06A1C4A1-665B-E7BA-E1E6-B11D210C040D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F90E3451-24B2-BD2B-13B0-264E31FCDE1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29EC91CE-C4EC-374A-1C07-7C09E72DA82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17CBA00F-7761-6B24-7AF8-6B884DA86C70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9653DE4B-DCB8-54DA-680F-7A05F8D617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3DEEED2D-5188-4F63-5CD6-B6185E7459B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E42CCF30-2D67-DA7B-0D37-FB3B6D8D44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2082314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5}}</a:t>
                      </a:r>
                      <a:br>
                        <a:rPr kumimoji="0" lang="de-DE" sz="700" b="1" i="0" u="none" strike="noStrike" kern="0" cap="none" spc="0" normalizeH="0" baseline="3000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Noto Music"/>
                          <a:cs typeface="Arial Unicode M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5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6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>
                          <a:solidFill>
                            <a:schemeClr val="tx1"/>
                          </a:solidFill>
                          <a:latin typeface="+mn-lt"/>
                        </a:rPr>
                        <a:t>{{StatusupdateUC6Sales</a:t>
                      </a: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0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7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2685638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8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383345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BF609DC3-38E4-5689-63F7-B24EC801A2FA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D7EBD627-9310-3F59-653C-056878D62108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A79E7A8F-42B8-5B6F-0169-E3E0DED5F687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D496635-72F6-0F08-C2E5-EA6E51E15A76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5EE35245-E3C9-908F-F93C-7ED40C0509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Sales &amp; Post Sales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5CD002-6DE2-B6BF-D47F-064922AE20DB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</a:t>
            </a: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p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87640F0-F8F6-A58D-E61C-139484487C06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88DF8A3-2110-DD61-8EA0-51595C247AE4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</a:t>
            </a: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inalized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3519B6E-623B-7E0C-8590-1D253A5F2B51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BD9AA82-5259-249C-8862-34D492530DA3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448C6F5-3A1B-26E0-DBE4-DBBCF96655E9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2851766-E952-37FC-D9E9-9DCF178B26E6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D25BF97-BA56-6328-E38B-5C5A4FFAEB97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81E394E-54DC-1E2A-FFD7-C54E2A372F6A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4E05B7E-B6F4-D15D-4428-F7424BE1BD40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4D0EE15F-8A68-B6E5-D248-C2FC4E7581D4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3DF04DA8-85EB-BBE8-C10A-977D0CC99283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79377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B48746-7D9A-8225-7F4A-ACF3BC6A1A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29A6A4-EC3D-AA9C-EFA2-C175334063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29A6A4-EC3D-AA9C-EFA2-C175334063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E0BF856C-1AB9-CDA7-B31E-E48EEBF861AE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05E96B47-B32D-1CFA-C7D4-797E92CE138D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9D14323C-E61B-CEA3-3379-50DD111D870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442EA592-918C-9D77-7E9F-05ED56A9266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89DCE98A-5993-1489-7286-DDF9174E86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8B48997E-046B-19D8-5F21-36AC8ABF508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F81649D4-0F0F-D596-264C-31C0955988EB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3BB05BEF-1F3F-98D3-6101-AD0D3896FE8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54A894F7-D469-54A5-DED6-D68700ACDE9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DDF8CBC5-7F27-AB7E-6F50-873523540EC2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75354380-9D91-5F8E-EC2F-BABB0CBEC8A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9A0E74FE-8E0A-0E75-000B-FF482E44739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DE3B4A9D-4EB0-7C6C-4A69-27A96277FC76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E75F8D5F-D135-00B2-B8D6-ADB0E82D9CB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319721E4-9C9B-570F-DB42-37D99A9B4FC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F046F7DF-F13F-1009-2235-6DE3793ED5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2082344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1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1Compliance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8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9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  <a:endParaRPr kumimoji="0" lang="en-US" sz="10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2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2Compliance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9966447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3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3Compliance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6487168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4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4Compliance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9788427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045F789F-1F63-8E94-AF6F-8D70AF146CDD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12D5D20C-EFD6-7C7B-07D7-DD9565355793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002A1BA9-C0B1-BB9B-21F5-6A1FAEA63642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7E88AC9-AD94-88B2-D481-51E5FF112DC5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BEFAEA6F-268F-88CF-717E-0023C04EF6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Compliance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3BC5D7-3FA5-C2F9-AF8C-763AF42339AC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9051E18-7391-4564-AFA5-8999AFC7DE6B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A39FBE0-9F7D-F72A-4E8D-2CF563AB4553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01F466-1007-090F-8C77-896AE29A21AC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56A9935-8CBC-EE20-A246-37373BC5E7D7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83F0AED-38A6-81E1-5A1B-900EAC2A46CB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DE69850-D601-EA48-9EF9-723B51C64105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AACEC3F-7814-6564-BCA2-5386202D29E0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5EE6DE0-5509-E24C-7AB1-2BDB849F5A8B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2E167CA-BCF3-5261-5DFA-325B0590845C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A8AB949A-5031-BFA7-08FD-48EC10B71B1B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20" name="dritter_kreis">
            <a:extLst>
              <a:ext uri="{FF2B5EF4-FFF2-40B4-BE49-F238E27FC236}">
                <a16:creationId xmlns:a16="http://schemas.microsoft.com/office/drawing/2014/main" id="{908AA9CA-F2E0-7402-2476-5DBE2A44E181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89501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266D6E-D17A-B985-63C3-31176C9EEB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219152D-379D-BC83-7FCE-D2E850F219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19152D-379D-BC83-7FCE-D2E850F219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22102EE5-801C-C299-0DAE-70E834F7E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de-DE" noProof="1">
                <a:solidFill>
                  <a:srgbClr val="002A86"/>
                </a:solidFill>
              </a:rPr>
              <a:t>2. CDP Foundational Use Cases | </a:t>
            </a:r>
            <a:r>
              <a:rPr lang="de-DE" noProof="1"/>
              <a:t>Status Update (1/2)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A738AAED-E924-44A7-A636-F362825315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9008667"/>
              </p:ext>
            </p:extLst>
          </p:nvPr>
        </p:nvGraphicFramePr>
        <p:xfrm>
          <a:off x="504001" y="2036224"/>
          <a:ext cx="11242624" cy="3070722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95102">
                  <a:extLst>
                    <a:ext uri="{9D8B030D-6E8A-4147-A177-3AD203B41FA5}">
                      <a16:colId xmlns:a16="http://schemas.microsoft.com/office/drawing/2014/main" val="2604398794"/>
                    </a:ext>
                  </a:extLst>
                </a:gridCol>
                <a:gridCol w="2176807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951040">
                  <a:extLst>
                    <a:ext uri="{9D8B030D-6E8A-4147-A177-3AD203B41FA5}">
                      <a16:colId xmlns:a16="http://schemas.microsoft.com/office/drawing/2014/main" val="1607541072"/>
                    </a:ext>
                  </a:extLst>
                </a:gridCol>
                <a:gridCol w="819675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399351">
                <a:tc>
                  <a:txBody>
                    <a:bodyPr/>
                    <a:lstStyle/>
                    <a:p>
                      <a:pPr algn="ctr"/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#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Use Case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Overall Statu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Statu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485751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1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}}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1}}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411678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de-DE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2</a:t>
                      </a:r>
                      <a:endParaRPr lang="en-US" sz="7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 Unicode MS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2}}</a:t>
                      </a:r>
                      <a:br>
                        <a:rPr lang="en-US" sz="700" b="1" dirty="0">
                          <a:latin typeface="+mn-lt"/>
                          <a:cs typeface="Arial"/>
                        </a:rPr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2}}</a:t>
                      </a:r>
                      <a:endParaRPr lang="en-US" sz="700" b="1" dirty="0">
                        <a:latin typeface="+mn-lt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2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2}}</a:t>
                      </a:r>
                    </a:p>
                    <a:p>
                      <a:pPr algn="ctr"/>
                      <a:endParaRPr lang="en-DE" sz="800">
                        <a:highlight>
                          <a:srgbClr val="FFFF00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934585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3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3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3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3}}</a:t>
                      </a:r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chemeClr val="accent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4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4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4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4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4}}</a:t>
                      </a:r>
                    </a:p>
                    <a:p>
                      <a:pPr algn="ctr"/>
                      <a:endParaRPr lang="en-DE" sz="800">
                        <a:highlight>
                          <a:srgbClr val="FFFF00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88707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5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5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5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5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5}}</a:t>
                      </a:r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365521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6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6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6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6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6}}</a:t>
                      </a:r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485051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7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7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7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7}}</a:t>
                      </a:r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3601772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684BAE62-6C83-413D-8DF0-6FFDDFA7BFCA}"/>
              </a:ext>
            </a:extLst>
          </p:cNvPr>
          <p:cNvSpPr/>
          <p:nvPr/>
        </p:nvSpPr>
        <p:spPr>
          <a:xfrm>
            <a:off x="484233" y="1569905"/>
            <a:ext cx="11160000" cy="261586"/>
          </a:xfrm>
          <a:prstGeom prst="rect">
            <a:avLst/>
          </a:prstGeom>
        </p:spPr>
        <p:txBody>
          <a:bodyPr wrap="square" lIns="91416" tIns="45708" rIns="91416" bIns="45708" anchor="t">
            <a:spAutoFit/>
          </a:bodyPr>
          <a:lstStyle/>
          <a:p>
            <a:pPr marL="178435" marR="0" lvl="0" indent="-178435" algn="l" defTabSz="108812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99999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{{AI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72 Brand" panose="020B0504030603020204" pitchFamily="34" charset="0"/>
              </a:rPr>
              <a:t>OverviewMessage1}}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D7C26AF-C5B6-46E6-9C29-FC8FF94AF77D}"/>
              </a:ext>
            </a:extLst>
          </p:cNvPr>
          <p:cNvCxnSpPr>
            <a:cxnSpLocks/>
          </p:cNvCxnSpPr>
          <p:nvPr/>
        </p:nvCxnSpPr>
        <p:spPr>
          <a:xfrm flipV="1">
            <a:off x="546657" y="1604761"/>
            <a:ext cx="11174831" cy="1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4480ABA4-9EB2-4498-8EC3-33D415EE607E}"/>
              </a:ext>
            </a:extLst>
          </p:cNvPr>
          <p:cNvSpPr txBox="1"/>
          <p:nvPr/>
        </p:nvSpPr>
        <p:spPr>
          <a:xfrm>
            <a:off x="517667" y="1353606"/>
            <a:ext cx="11324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Key Message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DA355873-23F8-4BE4-8706-51E4331F4FE4}"/>
              </a:ext>
            </a:extLst>
          </p:cNvPr>
          <p:cNvGraphicFramePr>
            <a:graphicFrameLocks noGrp="1"/>
          </p:cNvGraphicFramePr>
          <p:nvPr/>
        </p:nvGraphicFramePr>
        <p:xfrm>
          <a:off x="10293715" y="638646"/>
          <a:ext cx="1837895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452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833374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8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4" name="dritter_kreis">
            <a:extLst>
              <a:ext uri="{FF2B5EF4-FFF2-40B4-BE49-F238E27FC236}">
                <a16:creationId xmlns:a16="http://schemas.microsoft.com/office/drawing/2014/main" id="{DF61D3C7-AEDD-42FF-B0D4-6016912D8EA0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494691" y="668226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9FC80B7-462D-0F31-D0C2-2CC4BE579D78}"/>
              </a:ext>
            </a:extLst>
          </p:cNvPr>
          <p:cNvSpPr txBox="1"/>
          <p:nvPr/>
        </p:nvSpPr>
        <p:spPr>
          <a:xfrm>
            <a:off x="1212574" y="1759226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FDAC2BF-17E7-EC21-4FD4-D1D3E7FB68DF}"/>
              </a:ext>
            </a:extLst>
          </p:cNvPr>
          <p:cNvGrpSpPr/>
          <p:nvPr/>
        </p:nvGrpSpPr>
        <p:grpSpPr>
          <a:xfrm>
            <a:off x="8416613" y="6529844"/>
            <a:ext cx="3035627" cy="276443"/>
            <a:chOff x="8425119" y="6189621"/>
            <a:chExt cx="3035627" cy="27644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E9328F0B-FF78-5EEE-23DC-9F0DF216A3A9}"/>
                </a:ext>
              </a:extLst>
            </p:cNvPr>
            <p:cNvGrpSpPr/>
            <p:nvPr/>
          </p:nvGrpSpPr>
          <p:grpSpPr>
            <a:xfrm>
              <a:off x="9316179" y="6190553"/>
              <a:ext cx="2144567" cy="275511"/>
              <a:chOff x="9452248" y="6581190"/>
              <a:chExt cx="2144567" cy="27551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D075EE3F-1670-F362-8245-7102592998F4}"/>
                  </a:ext>
                </a:extLst>
              </p:cNvPr>
              <p:cNvGrpSpPr/>
              <p:nvPr/>
            </p:nvGrpSpPr>
            <p:grpSpPr>
              <a:xfrm>
                <a:off x="10100387" y="6581190"/>
                <a:ext cx="506279" cy="123111"/>
                <a:chOff x="6295651" y="6636723"/>
                <a:chExt cx="506279" cy="123111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F364D61B-768D-80DF-CA8E-4AD78CB10D95}"/>
                    </a:ext>
                  </a:extLst>
                </p:cNvPr>
                <p:cNvSpPr/>
                <p:nvPr/>
              </p:nvSpPr>
              <p:spPr bwMode="gray">
                <a:xfrm>
                  <a:off x="6295651" y="6650902"/>
                  <a:ext cx="108000" cy="108000"/>
                </a:xfrm>
                <a:prstGeom prst="rect">
                  <a:avLst/>
                </a:prstGeom>
                <a:solidFill>
                  <a:srgbClr val="FFC933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2C65040F-4055-BC84-D065-3E63844150E3}"/>
                    </a:ext>
                  </a:extLst>
                </p:cNvPr>
                <p:cNvSpPr txBox="1"/>
                <p:nvPr/>
              </p:nvSpPr>
              <p:spPr>
                <a:xfrm>
                  <a:off x="6439651" y="6636723"/>
                  <a:ext cx="362279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delayed</a:t>
                  </a:r>
                </a:p>
              </p:txBody>
            </p: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9EEB2864-79EA-7102-D835-98E957C0863F}"/>
                  </a:ext>
                </a:extLst>
              </p:cNvPr>
              <p:cNvGrpSpPr/>
              <p:nvPr/>
            </p:nvGrpSpPr>
            <p:grpSpPr>
              <a:xfrm>
                <a:off x="10725052" y="6581190"/>
                <a:ext cx="871763" cy="275511"/>
                <a:chOff x="6118362" y="6636723"/>
                <a:chExt cx="871763" cy="275511"/>
              </a:xfrm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5408FA71-995A-BA79-12B7-0C90F1C30C07}"/>
                    </a:ext>
                  </a:extLst>
                </p:cNvPr>
                <p:cNvSpPr/>
                <p:nvPr/>
              </p:nvSpPr>
              <p:spPr bwMode="gray">
                <a:xfrm>
                  <a:off x="6118362" y="6650902"/>
                  <a:ext cx="108000" cy="108000"/>
                </a:xfrm>
                <a:prstGeom prst="rect">
                  <a:avLst/>
                </a:prstGeom>
                <a:solidFill>
                  <a:srgbClr val="D20A0A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179665A1-E62B-391E-2CC0-5BE1BFFCE536}"/>
                    </a:ext>
                  </a:extLst>
                </p:cNvPr>
                <p:cNvSpPr txBox="1"/>
                <p:nvPr/>
              </p:nvSpPr>
              <p:spPr>
                <a:xfrm>
                  <a:off x="6255950" y="6636723"/>
                  <a:ext cx="73417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lang="en-GB" sz="800" kern="0">
                      <a:solidFill>
                        <a:srgbClr val="000000"/>
                      </a:solidFill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b</a:t>
                  </a:r>
                  <a:r>
                    <a:rPr kumimoji="0" lang="en-GB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locked / a</a:t>
                  </a: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t risk</a:t>
                  </a:r>
                </a:p>
              </p:txBody>
            </p: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4CD89C84-97E8-CEE9-9B15-713A736A0DC3}"/>
                    </a:ext>
                  </a:extLst>
                </p:cNvPr>
                <p:cNvSpPr txBox="1"/>
                <p:nvPr/>
              </p:nvSpPr>
              <p:spPr>
                <a:xfrm>
                  <a:off x="6414762" y="6789123"/>
                  <a:ext cx="6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F183A9C4-3D09-115F-8B01-A3E21D930521}"/>
                  </a:ext>
                </a:extLst>
              </p:cNvPr>
              <p:cNvGrpSpPr/>
              <p:nvPr/>
            </p:nvGrpSpPr>
            <p:grpSpPr>
              <a:xfrm>
                <a:off x="9452248" y="6581190"/>
                <a:ext cx="511088" cy="123111"/>
                <a:chOff x="6454275" y="6636723"/>
                <a:chExt cx="511088" cy="123111"/>
              </a:xfrm>
            </p:grpSpPr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E76DA291-21EA-4E5A-CBBB-B23AA27A086A}"/>
                    </a:ext>
                  </a:extLst>
                </p:cNvPr>
                <p:cNvSpPr/>
                <p:nvPr/>
              </p:nvSpPr>
              <p:spPr bwMode="gray">
                <a:xfrm>
                  <a:off x="6454275" y="6650902"/>
                  <a:ext cx="108000" cy="108000"/>
                </a:xfrm>
                <a:prstGeom prst="rect">
                  <a:avLst/>
                </a:prstGeom>
                <a:solidFill>
                  <a:srgbClr val="36A41D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2C52BBD6-7076-5E50-B68F-EC204BB09F2C}"/>
                    </a:ext>
                  </a:extLst>
                </p:cNvPr>
                <p:cNvSpPr txBox="1"/>
                <p:nvPr/>
              </p:nvSpPr>
              <p:spPr>
                <a:xfrm>
                  <a:off x="6598275" y="6636723"/>
                  <a:ext cx="367088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on track</a:t>
                  </a:r>
                </a:p>
              </p:txBody>
            </p:sp>
          </p:grp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74FF9AE-AEBC-9462-9BAE-B6A5193DFD79}"/>
                </a:ext>
              </a:extLst>
            </p:cNvPr>
            <p:cNvSpPr/>
            <p:nvPr/>
          </p:nvSpPr>
          <p:spPr bwMode="gray">
            <a:xfrm>
              <a:off x="8425119" y="6190553"/>
              <a:ext cx="108000" cy="10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E45FE75-EDD3-DF04-C89E-DF1F70938727}"/>
                </a:ext>
              </a:extLst>
            </p:cNvPr>
            <p:cNvSpPr txBox="1"/>
            <p:nvPr/>
          </p:nvSpPr>
          <p:spPr>
            <a:xfrm>
              <a:off x="8562017" y="6189621"/>
              <a:ext cx="66975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8776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lang="en-US" sz="800" kern="0">
                  <a:solidFill>
                    <a:srgbClr val="000000"/>
                  </a:solidFill>
                  <a:latin typeface="72 Brand"/>
                  <a:ea typeface="Arial Unicode MS" pitchFamily="34" charset="-128"/>
                  <a:cs typeface="Arial Unicode MS" pitchFamily="34" charset="-128"/>
                </a:rPr>
                <a:t>n</a:t>
              </a:r>
              <a:r>
                <a:rPr kumimoji="0" lang="en-US" sz="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ot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 started</a:t>
              </a:r>
              <a:endPara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001E1662-8222-291E-395E-97EDE7C28201}"/>
              </a:ext>
            </a:extLst>
          </p:cNvPr>
          <p:cNvSpPr txBox="1">
            <a:spLocks/>
          </p:cNvSpPr>
          <p:nvPr/>
        </p:nvSpPr>
        <p:spPr>
          <a:xfrm>
            <a:off x="8840805" y="288129"/>
            <a:ext cx="29058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wner: </a:t>
            </a:r>
            <a:r>
              <a:rPr kumimoji="0" lang="de-DE" sz="11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CV Team, Marketing Team</a:t>
            </a:r>
            <a:endParaRPr kumimoji="0" lang="de-DE" sz="11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47052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2CB784-1B64-6AE0-FB8B-F07FC530B4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D335A23-9BE9-6FFA-8E69-7452A32922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335A23-9BE9-6FFA-8E69-7452A32922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925C308-9233-DD22-0F06-93D36B6FCC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de-DE" noProof="1">
                <a:solidFill>
                  <a:srgbClr val="002A86"/>
                </a:solidFill>
              </a:rPr>
              <a:t>2. CDP Foundational Use Cases | </a:t>
            </a:r>
            <a:r>
              <a:rPr lang="de-DE" noProof="1"/>
              <a:t>Status Update (2/2)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5B2052E5-9AAF-2BD8-6445-1B9C14EA65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1684181"/>
              </p:ext>
            </p:extLst>
          </p:nvPr>
        </p:nvGraphicFramePr>
        <p:xfrm>
          <a:off x="504001" y="2036224"/>
          <a:ext cx="11242624" cy="2969831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95102">
                  <a:extLst>
                    <a:ext uri="{9D8B030D-6E8A-4147-A177-3AD203B41FA5}">
                      <a16:colId xmlns:a16="http://schemas.microsoft.com/office/drawing/2014/main" val="2604398794"/>
                    </a:ext>
                  </a:extLst>
                </a:gridCol>
                <a:gridCol w="2176807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951040">
                  <a:extLst>
                    <a:ext uri="{9D8B030D-6E8A-4147-A177-3AD203B41FA5}">
                      <a16:colId xmlns:a16="http://schemas.microsoft.com/office/drawing/2014/main" val="1607541072"/>
                    </a:ext>
                  </a:extLst>
                </a:gridCol>
                <a:gridCol w="819675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399351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#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Use Case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Overall Statu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Statu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485751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8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8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8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8}}</a:t>
                      </a:r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9610763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de-DE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9</a:t>
                      </a:r>
                      <a:endParaRPr lang="en-US" sz="7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 Unicode MS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9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9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9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9}}</a:t>
                      </a:r>
                    </a:p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7473885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0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0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0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0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10}}</a:t>
                      </a:r>
                    </a:p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7573048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1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1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1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1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11}}</a:t>
                      </a:r>
                    </a:p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9029581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2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2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2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2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 dirty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12}}</a:t>
                      </a:r>
                    </a:p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5247632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3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3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3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50" b="0" i="0" u="none" strike="noStrike" kern="1200" noProof="0">
                          <a:solidFill>
                            <a:srgbClr val="92D05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{{pr13}}</a:t>
                      </a: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7040972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0CD8BE60-FCA3-F9BB-E313-D2DB8A847795}"/>
              </a:ext>
            </a:extLst>
          </p:cNvPr>
          <p:cNvSpPr/>
          <p:nvPr/>
        </p:nvSpPr>
        <p:spPr>
          <a:xfrm>
            <a:off x="484233" y="1569905"/>
            <a:ext cx="11160000" cy="261586"/>
          </a:xfrm>
          <a:prstGeom prst="rect">
            <a:avLst/>
          </a:prstGeom>
        </p:spPr>
        <p:txBody>
          <a:bodyPr wrap="square" lIns="91416" tIns="45708" rIns="91416" bIns="45708" anchor="t">
            <a:spAutoFit/>
          </a:bodyPr>
          <a:lstStyle/>
          <a:p>
            <a:pPr marL="178435" lvl="0" indent="-178435" defTabSz="1088122">
              <a:spcBef>
                <a:spcPts val="600"/>
              </a:spcBef>
              <a:buClr>
                <a:srgbClr val="999999"/>
              </a:buClr>
              <a:buFont typeface="Wingdings" panose="05000000000000000000" pitchFamily="2" charset="2"/>
              <a:buChar char="§"/>
              <a:defRPr/>
            </a:pPr>
            <a:r>
              <a:rPr lang="en-US" sz="1100">
                <a:solidFill>
                  <a:srgbClr val="000000"/>
                </a:solidFill>
                <a:latin typeface="72 Brand" panose="020B0504030603020204" pitchFamily="34" charset="0"/>
              </a:rPr>
              <a:t>{{AI</a:t>
            </a:r>
            <a:r>
              <a:rPr lang="en-US" sz="1100">
                <a:solidFill>
                  <a:srgbClr val="000000"/>
                </a:solidFill>
                <a:highlight>
                  <a:srgbClr val="FFFF00"/>
                </a:highlight>
                <a:latin typeface="72 Brand" panose="020B0504030603020204" pitchFamily="34" charset="0"/>
              </a:rPr>
              <a:t>OverviewMessage2}} </a:t>
            </a: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 panose="020B0504030603020204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814F9FE-210E-698B-81D3-BAFFFC47D077}"/>
              </a:ext>
            </a:extLst>
          </p:cNvPr>
          <p:cNvCxnSpPr>
            <a:cxnSpLocks/>
          </p:cNvCxnSpPr>
          <p:nvPr/>
        </p:nvCxnSpPr>
        <p:spPr>
          <a:xfrm flipV="1">
            <a:off x="546657" y="1604761"/>
            <a:ext cx="11174831" cy="1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E4A7581A-EFD7-05FC-65A8-923249C651FC}"/>
              </a:ext>
            </a:extLst>
          </p:cNvPr>
          <p:cNvSpPr txBox="1"/>
          <p:nvPr/>
        </p:nvSpPr>
        <p:spPr>
          <a:xfrm>
            <a:off x="517667" y="1353606"/>
            <a:ext cx="11324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Key Message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891D674A-032C-97DB-09ED-8E9FE86828BC}"/>
              </a:ext>
            </a:extLst>
          </p:cNvPr>
          <p:cNvGraphicFramePr>
            <a:graphicFrameLocks noGrp="1"/>
          </p:cNvGraphicFramePr>
          <p:nvPr/>
        </p:nvGraphicFramePr>
        <p:xfrm>
          <a:off x="10293715" y="638646"/>
          <a:ext cx="1837895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452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833374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8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4" name="dritter_kreis">
            <a:extLst>
              <a:ext uri="{FF2B5EF4-FFF2-40B4-BE49-F238E27FC236}">
                <a16:creationId xmlns:a16="http://schemas.microsoft.com/office/drawing/2014/main" id="{DF7C222B-8501-2581-BC86-28109E782FA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494691" y="668226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DF9697E-F440-CCB8-06C6-5A952EBF1F58}"/>
              </a:ext>
            </a:extLst>
          </p:cNvPr>
          <p:cNvSpPr txBox="1"/>
          <p:nvPr/>
        </p:nvSpPr>
        <p:spPr>
          <a:xfrm>
            <a:off x="1212574" y="1759226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BFB73BA-8160-4318-C955-FD703CFBCA8C}"/>
              </a:ext>
            </a:extLst>
          </p:cNvPr>
          <p:cNvGrpSpPr/>
          <p:nvPr/>
        </p:nvGrpSpPr>
        <p:grpSpPr>
          <a:xfrm>
            <a:off x="8416613" y="6529844"/>
            <a:ext cx="3035627" cy="276443"/>
            <a:chOff x="8425119" y="6189621"/>
            <a:chExt cx="3035627" cy="27644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4948307-9D4D-445E-91DA-4F40091520AF}"/>
                </a:ext>
              </a:extLst>
            </p:cNvPr>
            <p:cNvGrpSpPr/>
            <p:nvPr/>
          </p:nvGrpSpPr>
          <p:grpSpPr>
            <a:xfrm>
              <a:off x="9316179" y="6190553"/>
              <a:ext cx="2144567" cy="275511"/>
              <a:chOff x="9452248" y="6581190"/>
              <a:chExt cx="2144567" cy="27551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2B8BA1A8-89CA-56D0-9396-2674F4774806}"/>
                  </a:ext>
                </a:extLst>
              </p:cNvPr>
              <p:cNvGrpSpPr/>
              <p:nvPr/>
            </p:nvGrpSpPr>
            <p:grpSpPr>
              <a:xfrm>
                <a:off x="10100387" y="6581190"/>
                <a:ext cx="506279" cy="123111"/>
                <a:chOff x="6295651" y="6636723"/>
                <a:chExt cx="506279" cy="123111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C4802ED4-0230-7AA5-0D99-74BCF445DD51}"/>
                    </a:ext>
                  </a:extLst>
                </p:cNvPr>
                <p:cNvSpPr/>
                <p:nvPr/>
              </p:nvSpPr>
              <p:spPr bwMode="gray">
                <a:xfrm>
                  <a:off x="6295651" y="6650902"/>
                  <a:ext cx="108000" cy="108000"/>
                </a:xfrm>
                <a:prstGeom prst="rect">
                  <a:avLst/>
                </a:prstGeom>
                <a:solidFill>
                  <a:srgbClr val="FFC933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BF5CECEF-74A4-51A6-16DB-06E6DD0325CA}"/>
                    </a:ext>
                  </a:extLst>
                </p:cNvPr>
                <p:cNvSpPr txBox="1"/>
                <p:nvPr/>
              </p:nvSpPr>
              <p:spPr>
                <a:xfrm>
                  <a:off x="6439651" y="6636723"/>
                  <a:ext cx="362279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delayed</a:t>
                  </a:r>
                </a:p>
              </p:txBody>
            </p: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4B21A568-41A0-D22A-1382-88CE1F0D962A}"/>
                  </a:ext>
                </a:extLst>
              </p:cNvPr>
              <p:cNvGrpSpPr/>
              <p:nvPr/>
            </p:nvGrpSpPr>
            <p:grpSpPr>
              <a:xfrm>
                <a:off x="10725052" y="6581190"/>
                <a:ext cx="871763" cy="275511"/>
                <a:chOff x="6118362" y="6636723"/>
                <a:chExt cx="871763" cy="275511"/>
              </a:xfrm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47ACFF95-9363-D10D-12B9-482A17B5D5B6}"/>
                    </a:ext>
                  </a:extLst>
                </p:cNvPr>
                <p:cNvSpPr/>
                <p:nvPr/>
              </p:nvSpPr>
              <p:spPr bwMode="gray">
                <a:xfrm>
                  <a:off x="6118362" y="6650902"/>
                  <a:ext cx="108000" cy="108000"/>
                </a:xfrm>
                <a:prstGeom prst="rect">
                  <a:avLst/>
                </a:prstGeom>
                <a:solidFill>
                  <a:srgbClr val="D20A0A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2F0C3655-065F-F995-0932-925EDAD1A268}"/>
                    </a:ext>
                  </a:extLst>
                </p:cNvPr>
                <p:cNvSpPr txBox="1"/>
                <p:nvPr/>
              </p:nvSpPr>
              <p:spPr>
                <a:xfrm>
                  <a:off x="6255950" y="6636723"/>
                  <a:ext cx="73417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lang="en-GB" sz="800" kern="0">
                      <a:solidFill>
                        <a:srgbClr val="000000"/>
                      </a:solidFill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b</a:t>
                  </a:r>
                  <a:r>
                    <a:rPr kumimoji="0" lang="en-GB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locked / a</a:t>
                  </a: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t risk</a:t>
                  </a:r>
                </a:p>
              </p:txBody>
            </p: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09961D0B-A129-6220-7717-6728640437AE}"/>
                    </a:ext>
                  </a:extLst>
                </p:cNvPr>
                <p:cNvSpPr txBox="1"/>
                <p:nvPr/>
              </p:nvSpPr>
              <p:spPr>
                <a:xfrm>
                  <a:off x="6414762" y="6789123"/>
                  <a:ext cx="6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6B020143-B2DB-5EA8-CE07-989466E6C3DB}"/>
                  </a:ext>
                </a:extLst>
              </p:cNvPr>
              <p:cNvGrpSpPr/>
              <p:nvPr/>
            </p:nvGrpSpPr>
            <p:grpSpPr>
              <a:xfrm>
                <a:off x="9452248" y="6581190"/>
                <a:ext cx="511088" cy="123111"/>
                <a:chOff x="6454275" y="6636723"/>
                <a:chExt cx="511088" cy="123111"/>
              </a:xfrm>
            </p:grpSpPr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29D24DB5-5497-70FC-4648-7DAB4C9F6546}"/>
                    </a:ext>
                  </a:extLst>
                </p:cNvPr>
                <p:cNvSpPr/>
                <p:nvPr/>
              </p:nvSpPr>
              <p:spPr bwMode="gray">
                <a:xfrm>
                  <a:off x="6454275" y="6650902"/>
                  <a:ext cx="108000" cy="108000"/>
                </a:xfrm>
                <a:prstGeom prst="rect">
                  <a:avLst/>
                </a:prstGeom>
                <a:solidFill>
                  <a:srgbClr val="36A41D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C3299797-137D-97DC-2FF5-5F6A780387BE}"/>
                    </a:ext>
                  </a:extLst>
                </p:cNvPr>
                <p:cNvSpPr txBox="1"/>
                <p:nvPr/>
              </p:nvSpPr>
              <p:spPr>
                <a:xfrm>
                  <a:off x="6598275" y="6636723"/>
                  <a:ext cx="367088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on track</a:t>
                  </a:r>
                </a:p>
              </p:txBody>
            </p:sp>
          </p:grp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49A294C-B891-1C58-7B1E-513F453DCBF0}"/>
                </a:ext>
              </a:extLst>
            </p:cNvPr>
            <p:cNvSpPr/>
            <p:nvPr/>
          </p:nvSpPr>
          <p:spPr bwMode="gray">
            <a:xfrm>
              <a:off x="8425119" y="6190553"/>
              <a:ext cx="108000" cy="10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F7071F2-0FDA-3FC7-A24A-2464422D359B}"/>
                </a:ext>
              </a:extLst>
            </p:cNvPr>
            <p:cNvSpPr txBox="1"/>
            <p:nvPr/>
          </p:nvSpPr>
          <p:spPr>
            <a:xfrm>
              <a:off x="8562017" y="6189621"/>
              <a:ext cx="66975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8776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lang="en-US" sz="800" kern="0">
                  <a:solidFill>
                    <a:srgbClr val="000000"/>
                  </a:solidFill>
                  <a:latin typeface="72 Brand"/>
                  <a:ea typeface="Arial Unicode MS" pitchFamily="34" charset="-128"/>
                  <a:cs typeface="Arial Unicode MS" pitchFamily="34" charset="-128"/>
                </a:rPr>
                <a:t>n</a:t>
              </a:r>
              <a:r>
                <a:rPr kumimoji="0" lang="en-US" sz="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ot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 started</a:t>
              </a:r>
              <a:endPara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D399000F-4FFB-0F47-8B2F-8895ABC5AABF}"/>
              </a:ext>
            </a:extLst>
          </p:cNvPr>
          <p:cNvSpPr txBox="1">
            <a:spLocks/>
          </p:cNvSpPr>
          <p:nvPr/>
        </p:nvSpPr>
        <p:spPr>
          <a:xfrm>
            <a:off x="8840805" y="288129"/>
            <a:ext cx="29058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wner: </a:t>
            </a:r>
            <a:r>
              <a:rPr kumimoji="0" lang="de-DE" sz="11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CV Team, Marketing Team</a:t>
            </a:r>
            <a:endParaRPr kumimoji="0" lang="de-DE" sz="11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297594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EAA23CB6-246F-47D8-A9DC-B6A0B13EDD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EAA23CB6-246F-47D8-A9DC-B6A0B13EDD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1F46F7A-ACFF-49CE-A0E9-6BD30EDB7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66307A8-CBF1-440C-B5F4-9274698CE55C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89F5BB3-C97D-4FB8-8E0D-01B339EA7573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00C1BE-3AB4-47B2-8DAF-BCFCE1085D0E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1EF3A94-C028-4342-907E-40D400942590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B2A80C4-C191-49F1-A263-B103EBF7043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D112845-C5E9-4904-ACA1-E3CE4709690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FD30885-3D51-4A18-B024-C78176E39DD5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FFD9B79-041D-4034-876E-318003D6AE7E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B5357AE-B31E-4BF4-B6A6-C1DC9613230A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1467BBC-04CD-4F91-92CE-8D8AB53837C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34E48B2-5927-4E30-AA9E-CE2AD6ED143E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ECE756F-E4EF-4B6E-A013-8F978B62D2B7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F0F7947-6073-49B2-8C3A-555FE2504C2C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65716C9-B6B4-4ECD-976C-BF1B61E4AED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0416436-E6D5-424D-92F2-57C4B446FF41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5FC379F-A183-4C02-8AA6-C0FB64FB7EC8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3AFA53B-D952-4747-9E2D-5BC16132A362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9CFC743-EF36-4368-B487-5166769CB9FD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E3310F6D-1963-4F0B-A62B-89EFBCFB8F34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C3586167-F2F3-4D01-8959-2D03D437AF20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B12D2E4D-5593-4EC3-8ADC-47827A0EFA14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34635045-C65C-41BA-A199-5E95CD8A4CEE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E11FE1B8-2219-4805-85E8-CA8AAAA88F3B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95535CD2-FDEA-485E-B81C-D1D39A808CA9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2DE257F-B4E4-43DA-86AE-201331655251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FC73BA1-9AFF-4685-8FC5-9D615BA25C2A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25096A61-CBE5-4328-BCAD-C2AA84475C6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B641277B-312E-4DB0-B064-A81984FE5E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9F83DAF6-F612-4838-AD69-DE929789E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BFF7F8DE-6ACA-4C18-BBFA-FA6013371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4518140C-636B-4699-9729-7A22ED4CAB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CB5463A3-AD68-4A96-B534-DD1F2E7ECB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4626AE28-4342-40EF-9EE4-E3CACA10A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EF091B33-A1B6-42A5-8590-0B3DCF8275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85A07DB3-0E5A-7891-568D-72FADF38ADF1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498DA22-1638-53F4-B737-9A6C3F509565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EAA030-67A6-6C4B-0D74-B7794C0B650C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6816F17-2E76-8A0E-417C-88BC0D0384A9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2ABBD39-C7E1-6AAA-441F-81E8F4574EF6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8411016-561D-C72D-0480-6F0FB962613C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353A254B-6594-0B9E-91E4-82D31BBB091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4BB6DC85-5185-827C-92E7-16BC139EDD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C8A28576-780F-6B0A-4C79-5C4D40E7E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294AD484-D4F5-7150-61CE-4F5A4EEC2A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B33F9E8B-37D1-8BFF-7C0D-26997632EF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ED69918A-28C7-2AE6-F58E-27C7BD6B0A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00BE37B0-7313-9C20-C9F6-8C76BFF7B4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B0A277D3-5E45-49E2-5F13-4D801DD7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74C8E3BE-485A-1C81-538A-42625EEB51D1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146065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SP_AGENDA" val="SectionNumber SlideNumber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.BUai09UixoCxVZ60x2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heme/theme1.xml><?xml version="1.0" encoding="utf-8"?>
<a:theme xmlns:a="http://schemas.openxmlformats.org/drawingml/2006/main" name="SAP Template 2024">
  <a:themeElements>
    <a:clrScheme name="SAP Colors 2023">
      <a:dk1>
        <a:srgbClr val="000000"/>
      </a:dk1>
      <a:lt1>
        <a:srgbClr val="FFFFFF"/>
      </a:lt1>
      <a:dk2>
        <a:srgbClr val="1B90FF"/>
      </a:dk2>
      <a:lt2>
        <a:srgbClr val="89D1FF"/>
      </a:lt2>
      <a:accent1>
        <a:srgbClr val="E76500"/>
      </a:accent1>
      <a:accent2>
        <a:srgbClr val="049F9A"/>
      </a:accent2>
      <a:accent3>
        <a:srgbClr val="36A41D"/>
      </a:accent3>
      <a:accent4>
        <a:srgbClr val="FA4F96"/>
      </a:accent4>
      <a:accent5>
        <a:srgbClr val="F31DED"/>
      </a:accent5>
      <a:accent6>
        <a:srgbClr val="7858FF"/>
      </a:accent6>
      <a:hlink>
        <a:srgbClr val="0070F2"/>
      </a:hlink>
      <a:folHlink>
        <a:srgbClr val="0070F2"/>
      </a:folHlink>
    </a:clrScheme>
    <a:fontScheme name="SAP 2023">
      <a:majorFont>
        <a:latin typeface="72 Brand Medium"/>
        <a:ea typeface=""/>
        <a:cs typeface=""/>
      </a:majorFont>
      <a:minorFont>
        <a:latin typeface="72 Brand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chemeClr val="tx1"/>
          </a:buClr>
          <a:buSzPct val="100000"/>
          <a:defRPr sz="1800" kern="0" dirty="0" err="1" smtClean="0">
            <a:latin typeface="72 Brand" panose="020B0504030603020204" pitchFamily="34" charset="0"/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custClrLst>
    <a:custClr name="Blue 2">
      <a:srgbClr val="D1EFFF"/>
    </a:custClr>
    <a:custClr name="Blue 4">
      <a:srgbClr val="89D1FF"/>
    </a:custClr>
    <a:custClr name="Blue 6">
      <a:srgbClr val="1B90FF"/>
    </a:custClr>
    <a:custClr name="Blue 7">
      <a:srgbClr val="0070F2"/>
    </a:custClr>
    <a:custClr name="Blue 10">
      <a:srgbClr val="002A86"/>
    </a:custClr>
    <a:custClr name="Blue 11">
      <a:srgbClr val="00144A"/>
    </a:custClr>
    <a:custClr name="Mango 2">
      <a:srgbClr val="FFF3B8"/>
    </a:custClr>
    <a:custClr name="Mango 4">
      <a:srgbClr val="FFC933"/>
    </a:custClr>
    <a:custClr name="Mango 6">
      <a:srgbClr val="E76500"/>
    </a:custClr>
    <a:custClr name="Mango 7">
      <a:srgbClr val="C35500"/>
    </a:custClr>
    <a:custClr name="Mango 10">
      <a:srgbClr val="6D1900"/>
    </a:custClr>
    <a:custClr name="Mango 11">
      <a:srgbClr val="450B00"/>
    </a:custClr>
    <a:custClr name="Teal 2">
      <a:srgbClr val="C2FCEE"/>
    </a:custClr>
    <a:custClr name="Teal 4">
      <a:srgbClr val="2CE0BF"/>
    </a:custClr>
    <a:custClr name="Teal 6">
      <a:srgbClr val="049F9A"/>
    </a:custClr>
    <a:custClr name="Teal 7">
      <a:srgbClr val="07838F"/>
    </a:custClr>
    <a:custClr name="Teal 10">
      <a:srgbClr val="02414C"/>
    </a:custClr>
    <a:custClr name="Teal 11">
      <a:srgbClr val="012931"/>
    </a:custClr>
    <a:custClr name="Green 2">
      <a:srgbClr val="EBF5CB"/>
    </a:custClr>
    <a:custClr name="Green 4">
      <a:srgbClr val="97DD40"/>
    </a:custClr>
    <a:custClr name="Green 6">
      <a:srgbClr val="36A41D"/>
    </a:custClr>
    <a:custClr name="Green 7">
      <a:srgbClr val="188918"/>
    </a:custClr>
    <a:custClr name="Green 10">
      <a:srgbClr val="164323"/>
    </a:custClr>
    <a:custClr name="Green 11">
      <a:srgbClr val="0E2B16"/>
    </a:custClr>
    <a:custClr name="Red 2">
      <a:srgbClr val="FFD5EA"/>
    </a:custClr>
    <a:custClr name="Red 4">
      <a:srgbClr val="FF8CB2"/>
    </a:custClr>
    <a:custClr name="Red 6">
      <a:srgbClr val="EE3939"/>
    </a:custClr>
    <a:custClr name="Red 7">
      <a:srgbClr val="D20A0A"/>
    </a:custClr>
    <a:custClr name="Red 10">
      <a:srgbClr val="5A0404"/>
    </a:custClr>
    <a:custClr name="Red 11">
      <a:srgbClr val="350000"/>
    </a:custClr>
    <a:custClr name="Raspberry 2">
      <a:srgbClr val="FFDCE8"/>
    </a:custClr>
    <a:custClr name="Raspberry 4">
      <a:srgbClr val="FEADC8"/>
    </a:custClr>
    <a:custClr name="Raspberry 6">
      <a:srgbClr val="FA4F96"/>
    </a:custClr>
    <a:custClr name="Raspberry 7">
      <a:srgbClr val="DF1278"/>
    </a:custClr>
    <a:custClr name="Raspberry 10">
      <a:srgbClr val="71014B"/>
    </a:custClr>
    <a:custClr name="Raspberry 11">
      <a:srgbClr val="510136"/>
    </a:custClr>
    <a:custClr name="Pink 2">
      <a:srgbClr val="FFDCF3"/>
    </a:custClr>
    <a:custClr name="Pink 4">
      <a:srgbClr val="FF8AF0"/>
    </a:custClr>
    <a:custClr name="Pink 6">
      <a:srgbClr val="F31DED"/>
    </a:custClr>
    <a:custClr name="Pink 7">
      <a:srgbClr val="CC00DC"/>
    </a:custClr>
    <a:custClr name="Pink 10">
      <a:srgbClr val="510080"/>
    </a:custClr>
    <a:custClr name="Pink 11">
      <a:srgbClr val="28004A"/>
    </a:custClr>
    <a:custClr name="Indigo 2">
      <a:srgbClr val="E2D8FF"/>
    </a:custClr>
    <a:custClr name="Indigo 4">
      <a:srgbClr val="B894FF"/>
    </a:custClr>
    <a:custClr name="Indigo 6">
      <a:srgbClr val="7858FF"/>
    </a:custClr>
    <a:custClr name="Indigo 7">
      <a:srgbClr val="5D36FF"/>
    </a:custClr>
    <a:custClr name="Indigo 10">
      <a:srgbClr val="1C0C6E"/>
    </a:custClr>
    <a:custClr name="Indigo 11">
      <a:srgbClr val="0E0637"/>
    </a:custClr>
  </a:custClrLst>
  <a:extLst>
    <a:ext uri="{05A4C25C-085E-4340-85A3-A5531E510DB2}">
      <thm15:themeFamily xmlns:thm15="http://schemas.microsoft.com/office/thememl/2012/main" name="Presentation1" id="{55B81BDB-58CB-4201-BF21-44A37ED5EB87}" vid="{B6866D63-1A80-4754-A643-56E7499711D7}"/>
    </a:ext>
  </a:extLst>
</a:theme>
</file>

<file path=ppt/theme/theme2.xml><?xml version="1.0" encoding="utf-8"?>
<a:theme xmlns:a="http://schemas.openxmlformats.org/drawingml/2006/main" name="White Template">
  <a:themeElements>
    <a:clrScheme name="Custom 19">
      <a:dk1>
        <a:srgbClr val="000000"/>
      </a:dk1>
      <a:lt1>
        <a:srgbClr val="FFFFFF"/>
      </a:lt1>
      <a:dk2>
        <a:srgbClr val="5B738B"/>
      </a:dk2>
      <a:lt2>
        <a:srgbClr val="D5DADD"/>
      </a:lt2>
      <a:accent1>
        <a:srgbClr val="0070F2"/>
      </a:accent1>
      <a:accent2>
        <a:srgbClr val="07838F"/>
      </a:accent2>
      <a:accent3>
        <a:srgbClr val="188918"/>
      </a:accent3>
      <a:accent4>
        <a:srgbClr val="C35500"/>
      </a:accent4>
      <a:accent5>
        <a:srgbClr val="D30F15"/>
      </a:accent5>
      <a:accent6>
        <a:srgbClr val="D20ADA"/>
      </a:accent6>
      <a:hlink>
        <a:srgbClr val="0070F2"/>
      </a:hlink>
      <a:folHlink>
        <a:srgbClr val="0070F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smtClean="0"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atin typeface="72 Brand" panose="020B0504030603020204" pitchFamily="34" charset="0"/>
            <a:ea typeface="Segoe UI" pitchFamily="34" charset="0"/>
            <a:cs typeface="72" panose="020B05030300000000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smtClean="0">
            <a:latin typeface="72 Brand" panose="020B0504030603020204" pitchFamily="34" charset="0"/>
            <a:cs typeface="72" panose="020B050303000000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5B81BDB-58CB-4201-BF21-44A37ED5EB87}" vid="{469BCE77-A706-4621-B5B9-B230BE3B9846}"/>
    </a:ext>
  </a:extLst>
</a:theme>
</file>

<file path=ppt/theme/theme3.xml><?xml version="1.0" encoding="utf-8"?>
<a:theme xmlns:a="http://schemas.openxmlformats.org/drawingml/2006/main" name="1_White Template">
  <a:themeElements>
    <a:clrScheme name="Custom 19">
      <a:dk1>
        <a:srgbClr val="000000"/>
      </a:dk1>
      <a:lt1>
        <a:srgbClr val="FFFFFF"/>
      </a:lt1>
      <a:dk2>
        <a:srgbClr val="5B738B"/>
      </a:dk2>
      <a:lt2>
        <a:srgbClr val="D5DADD"/>
      </a:lt2>
      <a:accent1>
        <a:srgbClr val="0070F2"/>
      </a:accent1>
      <a:accent2>
        <a:srgbClr val="07838F"/>
      </a:accent2>
      <a:accent3>
        <a:srgbClr val="188918"/>
      </a:accent3>
      <a:accent4>
        <a:srgbClr val="C35500"/>
      </a:accent4>
      <a:accent5>
        <a:srgbClr val="D30F15"/>
      </a:accent5>
      <a:accent6>
        <a:srgbClr val="D20ADA"/>
      </a:accent6>
      <a:hlink>
        <a:srgbClr val="0070F2"/>
      </a:hlink>
      <a:folHlink>
        <a:srgbClr val="0070F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smtClean="0"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atin typeface="72 Brand" panose="020B0504030603020204" pitchFamily="34" charset="0"/>
            <a:ea typeface="Segoe UI" pitchFamily="34" charset="0"/>
            <a:cs typeface="72" panose="020B05030300000000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smtClean="0">
            <a:latin typeface="72 Brand" panose="020B0504030603020204" pitchFamily="34" charset="0"/>
            <a:cs typeface="72" panose="020B050303000000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5B81BDB-58CB-4201-BF21-44A37ED5EB87}" vid="{5A94DC29-6863-4507-BC9E-870BE1AB0461}"/>
    </a:ext>
  </a:extLst>
</a:theme>
</file>

<file path=ppt/theme/theme4.xml><?xml version="1.0" encoding="utf-8"?>
<a:theme xmlns:a="http://schemas.openxmlformats.org/drawingml/2006/main" name="1_SAP Template 2024">
  <a:themeElements>
    <a:clrScheme name="SAP Colors 2023">
      <a:dk1>
        <a:srgbClr val="000000"/>
      </a:dk1>
      <a:lt1>
        <a:srgbClr val="FFFFFF"/>
      </a:lt1>
      <a:dk2>
        <a:srgbClr val="1B90FF"/>
      </a:dk2>
      <a:lt2>
        <a:srgbClr val="89D1FF"/>
      </a:lt2>
      <a:accent1>
        <a:srgbClr val="E76500"/>
      </a:accent1>
      <a:accent2>
        <a:srgbClr val="049F9A"/>
      </a:accent2>
      <a:accent3>
        <a:srgbClr val="36A41D"/>
      </a:accent3>
      <a:accent4>
        <a:srgbClr val="FA4F96"/>
      </a:accent4>
      <a:accent5>
        <a:srgbClr val="F31DED"/>
      </a:accent5>
      <a:accent6>
        <a:srgbClr val="7858FF"/>
      </a:accent6>
      <a:hlink>
        <a:srgbClr val="0070F2"/>
      </a:hlink>
      <a:folHlink>
        <a:srgbClr val="0070F2"/>
      </a:folHlink>
    </a:clrScheme>
    <a:fontScheme name="SAP 2023">
      <a:majorFont>
        <a:latin typeface="72 Brand Medium"/>
        <a:ea typeface=""/>
        <a:cs typeface=""/>
      </a:majorFont>
      <a:minorFont>
        <a:latin typeface="72 Brand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chemeClr val="tx1"/>
          </a:buClr>
          <a:buSzPct val="100000"/>
          <a:defRPr sz="1800" kern="0" dirty="0" err="1" smtClean="0">
            <a:latin typeface="72 Brand" panose="020B0504030603020204" pitchFamily="34" charset="0"/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custClrLst>
    <a:custClr name="Blue 2">
      <a:srgbClr val="D1EFFF"/>
    </a:custClr>
    <a:custClr name="Blue 4">
      <a:srgbClr val="89D1FF"/>
    </a:custClr>
    <a:custClr name="Blue 6">
      <a:srgbClr val="1B90FF"/>
    </a:custClr>
    <a:custClr name="Blue 7">
      <a:srgbClr val="0070F2"/>
    </a:custClr>
    <a:custClr name="Blue 10">
      <a:srgbClr val="002A86"/>
    </a:custClr>
    <a:custClr name="Blue 11">
      <a:srgbClr val="00144A"/>
    </a:custClr>
    <a:custClr name="Mango 2">
      <a:srgbClr val="FFF3B8"/>
    </a:custClr>
    <a:custClr name="Mango 4">
      <a:srgbClr val="FFC933"/>
    </a:custClr>
    <a:custClr name="Mango 6">
      <a:srgbClr val="E76500"/>
    </a:custClr>
    <a:custClr name="Mango 7">
      <a:srgbClr val="C35500"/>
    </a:custClr>
    <a:custClr name="Mango 10">
      <a:srgbClr val="6D1900"/>
    </a:custClr>
    <a:custClr name="Mango 11">
      <a:srgbClr val="450B00"/>
    </a:custClr>
    <a:custClr name="Teal 2">
      <a:srgbClr val="C2FCEE"/>
    </a:custClr>
    <a:custClr name="Teal 4">
      <a:srgbClr val="2CE0BF"/>
    </a:custClr>
    <a:custClr name="Teal 6">
      <a:srgbClr val="049F9A"/>
    </a:custClr>
    <a:custClr name="Teal 7">
      <a:srgbClr val="07838F"/>
    </a:custClr>
    <a:custClr name="Teal 10">
      <a:srgbClr val="02414C"/>
    </a:custClr>
    <a:custClr name="Teal 11">
      <a:srgbClr val="012931"/>
    </a:custClr>
    <a:custClr name="Green 2">
      <a:srgbClr val="EBF5CB"/>
    </a:custClr>
    <a:custClr name="Green 4">
      <a:srgbClr val="97DD40"/>
    </a:custClr>
    <a:custClr name="Green 6">
      <a:srgbClr val="36A41D"/>
    </a:custClr>
    <a:custClr name="Green 7">
      <a:srgbClr val="188918"/>
    </a:custClr>
    <a:custClr name="Green 10">
      <a:srgbClr val="164323"/>
    </a:custClr>
    <a:custClr name="Green 11">
      <a:srgbClr val="0E2B16"/>
    </a:custClr>
    <a:custClr name="Red 2">
      <a:srgbClr val="FFD5EA"/>
    </a:custClr>
    <a:custClr name="Red 4">
      <a:srgbClr val="FF8CB2"/>
    </a:custClr>
    <a:custClr name="Red 6">
      <a:srgbClr val="EE3939"/>
    </a:custClr>
    <a:custClr name="Red 7">
      <a:srgbClr val="D20A0A"/>
    </a:custClr>
    <a:custClr name="Red 10">
      <a:srgbClr val="5A0404"/>
    </a:custClr>
    <a:custClr name="Red 11">
      <a:srgbClr val="350000"/>
    </a:custClr>
    <a:custClr name="Raspberry 2">
      <a:srgbClr val="FFDCE8"/>
    </a:custClr>
    <a:custClr name="Raspberry 4">
      <a:srgbClr val="FEADC8"/>
    </a:custClr>
    <a:custClr name="Raspberry 6">
      <a:srgbClr val="FA4F96"/>
    </a:custClr>
    <a:custClr name="Raspberry 7">
      <a:srgbClr val="DF1278"/>
    </a:custClr>
    <a:custClr name="Raspberry 10">
      <a:srgbClr val="71014B"/>
    </a:custClr>
    <a:custClr name="Raspberry 11">
      <a:srgbClr val="510136"/>
    </a:custClr>
    <a:custClr name="Pink 2">
      <a:srgbClr val="FFDCF3"/>
    </a:custClr>
    <a:custClr name="Pink 4">
      <a:srgbClr val="FF8AF0"/>
    </a:custClr>
    <a:custClr name="Pink 6">
      <a:srgbClr val="F31DED"/>
    </a:custClr>
    <a:custClr name="Pink 7">
      <a:srgbClr val="CC00DC"/>
    </a:custClr>
    <a:custClr name="Pink 10">
      <a:srgbClr val="510080"/>
    </a:custClr>
    <a:custClr name="Pink 11">
      <a:srgbClr val="28004A"/>
    </a:custClr>
    <a:custClr name="Indigo 2">
      <a:srgbClr val="E2D8FF"/>
    </a:custClr>
    <a:custClr name="Indigo 4">
      <a:srgbClr val="B894FF"/>
    </a:custClr>
    <a:custClr name="Indigo 6">
      <a:srgbClr val="7858FF"/>
    </a:custClr>
    <a:custClr name="Indigo 7">
      <a:srgbClr val="5D36FF"/>
    </a:custClr>
    <a:custClr name="Indigo 10">
      <a:srgbClr val="1C0C6E"/>
    </a:custClr>
    <a:custClr name="Indigo 11">
      <a:srgbClr val="0E0637"/>
    </a:custClr>
  </a:custClrLst>
  <a:extLst>
    <a:ext uri="{05A4C25C-085E-4340-85A3-A5531E510DB2}">
      <thm15:themeFamily xmlns:thm15="http://schemas.microsoft.com/office/thememl/2012/main" name="Presentation1" id="{55B81BDB-58CB-4201-BF21-44A37ED5EB87}" vid="{B6866D63-1A80-4754-A643-56E7499711D7}"/>
    </a:ext>
  </a:extLst>
</a:theme>
</file>

<file path=ppt/theme/theme5.xml><?xml version="1.0" encoding="utf-8"?>
<a:theme xmlns:a="http://schemas.openxmlformats.org/drawingml/2006/main" name="Office Theme">
  <a:themeElements>
    <a:clrScheme name="SAP_Colors2011_1.1">
      <a:dk1>
        <a:srgbClr val="000000"/>
      </a:dk1>
      <a:lt1>
        <a:srgbClr val="FFFFFF"/>
      </a:lt1>
      <a:dk2>
        <a:srgbClr val="0076CB"/>
      </a:dk2>
      <a:lt2>
        <a:srgbClr val="CCCCCC"/>
      </a:lt2>
      <a:accent1>
        <a:srgbClr val="F0AB00"/>
      </a:accent1>
      <a:accent2>
        <a:srgbClr val="666666"/>
      </a:accent2>
      <a:accent3>
        <a:srgbClr val="0076CB"/>
      </a:accent3>
      <a:accent4>
        <a:srgbClr val="4FB81C"/>
      </a:accent4>
      <a:accent5>
        <a:srgbClr val="E35500"/>
      </a:accent5>
      <a:accent6>
        <a:srgbClr val="760A85"/>
      </a:accent6>
      <a:hlink>
        <a:srgbClr val="666666"/>
      </a:hlink>
      <a:folHlink>
        <a:srgbClr val="CCCCCC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ue 2">
      <a:srgbClr val="D1EFFF"/>
    </a:custClr>
  </a:custClrLst>
</a:theme>
</file>

<file path=ppt/theme/theme6.xml><?xml version="1.0" encoding="utf-8"?>
<a:theme xmlns:a="http://schemas.openxmlformats.org/drawingml/2006/main" name="Office Theme">
  <a:themeElements>
    <a:clrScheme name="SAP_Colors2011">
      <a:dk1>
        <a:srgbClr val="000000"/>
      </a:dk1>
      <a:lt1>
        <a:srgbClr val="FFFFFF"/>
      </a:lt1>
      <a:dk2>
        <a:srgbClr val="00AFE3"/>
      </a:dk2>
      <a:lt2>
        <a:srgbClr val="CCCCCC"/>
      </a:lt2>
      <a:accent1>
        <a:srgbClr val="FDB913"/>
      </a:accent1>
      <a:accent2>
        <a:srgbClr val="626366"/>
      </a:accent2>
      <a:accent3>
        <a:srgbClr val="0082C9"/>
      </a:accent3>
      <a:accent4>
        <a:srgbClr val="4BBE44"/>
      </a:accent4>
      <a:accent5>
        <a:srgbClr val="B1D249"/>
      </a:accent5>
      <a:accent6>
        <a:srgbClr val="80298F"/>
      </a:accent6>
      <a:hlink>
        <a:srgbClr val="04357B"/>
      </a:hlink>
      <a:folHlink>
        <a:srgbClr val="999999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ue 2">
      <a:srgbClr val="D1EFFF"/>
    </a:custClr>
  </a:custClr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  <wetp:taskpane dockstate="right" visibility="0" width="350" row="0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D0FCFAFA-D3D3-1441-8101-DA629D03A5D9}">
  <we:reference id="b0692d11-e342-a550-cfba-e8c57e47b8f1" version="1.0.0.8" store="EXCatalog" storeType="EXCatalog"/>
  <we:alternateReferences/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E65AE667-A5F5-0F47-8627-5174A8B7EA47}">
  <we:reference id="b8d7a30b-109c-4c41-a1df-a6cb639730b5" version="2.0.0.5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TemplateConfiguration><![CDATA[{"slideVersion":1,"isValidatorEnabled":false,"isLocked":false,"elementsMetadata":[],"slideId":"637867244053543411","enableDocumentContentUpdater":false,"version":"2.0"}]]></TemplafySlideTemplateConfiguration>
</file>

<file path=customXml/item10.xml><?xml version="1.0" encoding="utf-8"?>
<TemplafySlideFormConfiguration><![CDATA[{"formFields":[],"formDataEntries":[]}]]></TemplafySlideFormConfiguration>
</file>

<file path=customXml/item1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D2AF1DA3F8FF4FA6C2645C43C2AC01" ma:contentTypeVersion="10" ma:contentTypeDescription="Ein neues Dokument erstellen." ma:contentTypeScope="" ma:versionID="8e56428985043cb2aff47f5e3c9c04b8">
  <xsd:schema xmlns:xsd="http://www.w3.org/2001/XMLSchema" xmlns:xs="http://www.w3.org/2001/XMLSchema" xmlns:p="http://schemas.microsoft.com/office/2006/metadata/properties" xmlns:ns2="76410bfa-c465-4282-9437-cb33276387d7" xmlns:ns3="2e4b7787-f155-484c-a6ed-faacc4d6ea8a" targetNamespace="http://schemas.microsoft.com/office/2006/metadata/properties" ma:root="true" ma:fieldsID="dded2dde737277573d4993fc2bab9382" ns2:_="" ns3:_="">
    <xsd:import namespace="76410bfa-c465-4282-9437-cb33276387d7"/>
    <xsd:import namespace="2e4b7787-f155-484c-a6ed-faacc4d6ea8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410bfa-c465-4282-9437-cb33276387d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4debb949-be09-4628-8a5e-97009452ba1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4b7787-f155-484c-a6ed-faacc4d6ea8a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19d2eb87-e541-4894-8197-ae1b607c058e}" ma:internalName="TaxCatchAll" ma:showField="CatchAllData" ma:web="2e4b7787-f155-484c-a6ed-faacc4d6ea8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2.xml><?xml version="1.0" encoding="utf-8"?>
<TemplafySlideTemplateConfiguration><![CDATA[{"slideVersion":2,"isValidatorEnabled":false,"isLocked":false,"elementsMetadata":[],"slideId":"638373043998050859","enableDocumentContentUpdater":false,"version":"2.0"}]]></TemplafySlideTemplateConfiguration>
</file>

<file path=customXml/item13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14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15.xml><?xml version="1.0" encoding="utf-8"?>
<TemplafySlideFormConfiguration><![CDATA[{"formFields":[],"formDataEntries":[]}]]></TemplafySlideFormConfiguration>
</file>

<file path=customXml/item16.xml><?xml version="1.0" encoding="utf-8"?>
<TemplafySlideTemplateConfiguration><![CDATA[{"slideVersion":4,"isValidatorEnabled":false,"isLocked":false,"elementsMetadata":[],"slideId":"638315636856348256","enableDocumentContentUpdater":false,"version":"2.0"}]]></TemplafySlideTemplateConfiguration>
</file>

<file path=customXml/item17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1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e4b7787-f155-484c-a6ed-faacc4d6ea8a" xsi:nil="true"/>
    <lcf76f155ced4ddcb4097134ff3c332f xmlns="76410bfa-c465-4282-9437-cb33276387d7">
      <Terms xmlns="http://schemas.microsoft.com/office/infopath/2007/PartnerControls"/>
    </lcf76f155ced4ddcb4097134ff3c332f>
  </documentManagement>
</p:properties>
</file>

<file path=customXml/item19.xml><?xml version="1.0" encoding="utf-8"?>
<TemplafySlideFormConfiguration><![CDATA[{"formFields":[],"formDataEntries":[]}]]></TemplafySlideFormConfiguration>
</file>

<file path=customXml/item2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20.xml><?xml version="1.0" encoding="utf-8"?>
<TemplafySlideTemplateConfiguration><![CDATA[{"slideVersion":2,"isValidatorEnabled":false,"isLocked":false,"elementsMetadata":[],"slideId":"638373043998113631","enableDocumentContentUpdater":false,"version":"2.0"}]]></TemplafySlideTemplateConfiguration>
</file>

<file path=customXml/item21.xml><?xml version="1.0" encoding="utf-8"?>
<TemplafySlideTemplateConfiguration><![CDATA[{"slideVersion":2,"isValidatorEnabled":false,"isLocked":false,"elementsMetadata":[],"slideId":"638373043998191062","enableDocumentContentUpdater":false,"version":"2.0"}]]></TemplafySlideTemplateConfiguration>
</file>

<file path=customXml/item22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binding":"{{Form.Classification.Display}}","visibility":"","type":"text","disableUpdates":false}},{"type":"shape","elementConfiguration":{"inheritDimensions":"{{InheritDimensions.InheritNone}}","width":"","height":"1 cm","image":"{{Form.SAPLogo.SubbrandBlack}}","visibility":"","type":"image","disableUpdates":false}}],"slideId":"638331234102547405","enableDocumentContentUpdater":false,"version":"2.0"}]]></TemplafySlideTemplateConfiguration>
</file>

<file path=customXml/item23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24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25.xml><?xml version="1.0" encoding="utf-8"?>
<TemplafySlideFormConfiguration><![CDATA[{"formFields":[],"formDataEntries":[]}]]></TemplafySlideFormConfiguration>
</file>

<file path=customXml/item26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27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White}}","visibility":"","type":"image","disableUpdates":false}},{"type":"shape","elementConfiguration":{"binding":"{{Form.Classification.Display}}","visibility":"","type":"text","disableUpdates":false}}],"slideId":"638331234102430701","enableDocumentContentUpdater":false,"version":"2.0"}]]></TemplafySlideTemplateConfiguration>
</file>

<file path=customXml/item28.xml><?xml version="1.0" encoding="utf-8"?>
<TemplafySlideTemplateConfiguration><![CDATA[{"slideVersion":3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],"slideId":"638315639972988716","enableDocumentContentUpdater":false,"version":"2.0"}]]></TemplafySlideTemplateConfiguration>
</file>

<file path=customXml/item29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3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30.xml><?xml version="1.0" encoding="utf-8"?>
<Templafy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,{"required":false,"placeholder":"","lines":1,"defaultValue":"{{UserProfile.Email}}","shareValue":false,"type":"textBox","name":"Email","label":"Email"}],"formDataEntries":[{"name":"SAPLogo","value":"pxB0tb4qiCEYCgGk2fAV86fXsKRk9ZMKiRC3VaLJ5C8="},{"name":"Classification","value":"OmrOP8d402txjl1Zr787gUA6bTWeMdaxGEF9U5BKD64="},{"name":"SpeakerName","value":"YnPwfaWtJd9yqRikMcavEg=="},{"name":"Email","value":"v35+JSpO6F5yjM5PrFdVwQ=="}]}]]></TemplafyFormConfiguration>
</file>

<file path=customXml/item31.xml><?xml version="1.0" encoding="utf-8"?>
<TemplafySlideFormConfiguration><![CDATA[{"formFields":[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,{"required":false,"placeholder":"","lines":1,"defaultValue":"{{UserProfile.Email}}","shareValue":false,"type":"textBox","name":"Email","label":"Email"}],"formDataEntries":[]}]]></TemplafySlideFormConfiguration>
</file>

<file path=customXml/item3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3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34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35.xml><?xml version="1.0" encoding="utf-8"?>
<TemplafySlideTemplateConfiguration><![CDATA[{"slideVersion":2,"isValidatorEnabled":false,"isLocked":false,"elementsMetadata":[{"type":"shape","elementConfiguration":{"binding":"{{Form.SpeakerName}}","type":"text","disableUpdates":false}},{"type":"shape","elementConfiguration":{"binding":"{{Form.Email}}","type":"text","disableUpdates":false}},{"type":"shape","elementConfiguration":{"binding":"{{DataSources.PPTCopyRight[\"Slide 5 copyright\"].CopyrightMessage}}","visibility":"","type":"text","disableUpdates":false}}],"slideId":"638331234103056874","enableDocumentContentUpdater":false,"version":"2.0"}]]></TemplafySlideTemplateConfiguration>
</file>

<file path=customXml/item36.xml><?xml version="1.0" encoding="utf-8"?>
<TemplafyTemplateConfiguration><![CDATA[{"elementsMetadata":[{"type":"shape","id":"8960db9f-55d6-4683-a7ef-5191a33a6538","elementConfiguration":{"binding":"{{ DataSources.Classification[Form.Classification.Name].Display}}","type":"text","disableUpdates":false}},{"type":"shape","id":"2adb6e73-401a-40c8-920f-314d5e045a9a","elementConfiguration":{"inheritDimensions":"{{InheritDimensions.InheritNone}}","width":"","height":"1 cm","image":"{{Form.SAPLogo.SubbrandBlue}}","visibility":"","type":"image","disableUpdates":false}},{"type":"shape","id":"19fd4b9e-aabf-4332-9e0c-96b627a7d3e6","elementConfiguration":{"binding":"{{Form.Classification.Display}}","visibility":"","type":"text","disableUpdates":false}},{"type":"shape","id":"aa57b900-42ee-45e2-901d-a9c467b9898a","elementConfiguration":{"binding":"{{Form.Classification.Display}}","visibility":"","type":"text","disableUpdates":false}},{"type":"shape","id":"690c104f-7e65-48cd-94b6-5b4d27d0d6fb","elementConfiguration":{"inheritDimensions":"{{InheritDimensions.InheritNone}}","width":"","height":"1 cm","image":"{{Form.SAPLogo.SubbrandBlack}}","visibility":"","type":"image","disableUpdates":false}},{"type":"shape","id":"ae30ed49-76db-405c-8e79-7aba1a001200","elementConfiguration":{"inheritDimensions":"{{InheritDimensions.InheritNone}}","width":"","height":"1 cm","image":"{{Form.SAPLogo.SubbrandWhite}}","visibility":"","type":"image","disableUpdates":false}},{"type":"shape","id":"c0ba914e-4f09-45b0-9f6c-35c8b490f42b","elementConfiguration":{"binding":"{{Form.Classification.Display}}","visibility":"","type":"text","disableUpdates":false}},{"type":"shape","id":"e1ff4155-3db1-4bbb-85a7-437eca614c8d","elementConfiguration":{"inheritDimensions":"{{InheritDimensions.InheritNone}}","width":"","height":"1 cm","image":"{{Form.SAPLogo.SubbrandBlue}}","visibility":"","type":"image","disableUpdates":false}},{"type":"shape","id":"1400d254-c5b0-49a9-bbba-c97223cc9af9","elementConfiguration":{"binding":"{{Form.Classification.Display}}","visibility":"","type":"text","disableUpdates":false}},{"type":"shape","id":"9dd02216-58b9-48cc-95b4-a4fb4fb97416","elementConfiguration":{"inheritDimensions":"{{InheritDimensions.InheritNone}}","width":"","height":"1 cm","image":"{{Form.SAPLogo.SubbrandBlue}}","visibility":"","type":"image","disableUpdates":false}},{"type":"shape","id":"17904262-8e98-4143-ba28-5ffff2b9dc57","elementConfiguration":{"binding":"{{Form.Classification.Display}}","visibility":"","type":"text","disableUpdates":false}},{"type":"shape","id":"24dda641-0340-42fc-b199-54e3bbe1e6c5","elementConfiguration":{"inheritDimensions":"{{InheritDimensions.InheritNone}}","width":"","height":"1 cm","image":"{{Form.SAPLogo.SubbrandBlue}}","visibility":"","type":"image","disableUpdates":false}},{"type":"shape","id":"99d85a1f-5caa-4f35-b7df-eb9703c96eda","elementConfiguration":{"binding":"{{Form.Classification.Display}}","visibility":"","type":"text","disableUpdates":false}},{"type":"shape","id":"bf92befa-b263-4404-9fe3-ef1335ee58ca","elementConfiguration":{"inheritDimensions":"{{InheritDimensions.InheritNone}}","width":"","height":"1 cm","image":"{{Form.SAPLogo.SubbrandWhite}}","visibility":"","type":"image","disableUpdates":false}},{"type":"shape","id":"ebe7628e-813a-484c-8017-e91ee33b1f2a","elementConfiguration":{"binding":"{{Form.Classification.Display}}","visibility":"","type":"text","disableUpdates":false}},{"type":"shape","id":"68c8689a-7a81-470c-8a82-d35a6ccb8b77","elementConfiguration":{"binding":"{{DataSources.PPTCopyRight[\"Slide 5 copyright\"].CopyrightMessage}}","visibility":"","type":"text","disableUpdates":false}},{"type":"shape","id":"787d00a1-4cac-4b81-b637-a99274574ec4","elementConfiguration":{"inheritDimensions":"{{InheritDimensions.InheritNone}}","width":"","height":"1 cm","image":"{{Form.SAPLogo.SubbrandBlack}}","visibility":"","type":"image","disableUpdates":false}},{"type":"shape","id":"ad4994d4-76c3-4624-9265-4ebe8c04ee95","elementConfiguration":{"binding":"{{Form.Classification.Display}}","visibility":"","type":"text","disableUpdates":false}},{"type":"shape","id":"f311321f-6dec-468e-bf1d-41970cf5b78d","elementConfiguration":{"inheritDimensions":"{{InheritDimensions.InheritNone}}","width":"","height":"1 cm","image":"{{Form.SAPLogo.SubbrandWhite}}","visibility":"","type":"image","disableUpdates":false}},{"type":"shape","id":"34991d23-440a-47c2-bb45-be4011253002","elementConfiguration":{"binding":"{{Form.Classification.Display}}","visibility":"","type":"text","disableUpdates":false}},{"type":"shape","id":"782e938b-415a-44f4-8cb8-5e36a066287a","elementConfiguration":{"inheritDimensions":"{{InheritDimensions.InheritNone}}","width":"","height":"1 cm","image":"{{Form.SAPLogo.SubbrandBlack}}","visibility":"","type":"image","disableUpdates":false}},{"type":"shape","id":"5343c1ce-9339-4eea-a569-6763265abadc","elementConfiguration":{"binding":"{{Form.Classification.Display}}","visibility":"","type":"text","disableUpdates":false}},{"type":"shape","id":"a0444597-b454-4b66-be2a-62ce43b21692","elementConfiguration":{"inheritDimensions":"{{InheritDimensions.InheritNone}}","width":"","height":"1 cm","image":"{{Form.SAPLogo.SubbrandWhite}}","visibility":"","type":"image","disableUpdates":false}},{"type":"shape","id":"a16dfd42-0de3-46c7-a276-e906e46a8fb7","elementConfiguration":{"binding":"{{Form.Classification.Display}}","visibility":"","type":"text","disableUpdates":false}},{"type":"shape","id":"468cc11e-ebc9-42f4-be65-89cdfb44a347","elementConfiguration":{"inheritDimensions":"{{InheritDimensions.InheritNone}}","width":"","height":"1 cm","image":"{{Form.SAPLogo.SubbrandWhite}}","visibility":"","type":"image","disableUpdates":false}},{"type":"shape","id":"b798b046-f929-4909-a836-5f798d360ff5","elementConfiguration":{"binding":"{{Form.Classification.Display}}","visibility":"","type":"text","disableUpdates":false}},{"type":"shape","id":"73d999c3-30d6-4815-9178-e4bc1b50a492","elementConfiguration":{"binding":"{{StringJoin(\", \", Form.SpeakerName,\"SAP\")}}","type":"text","disableUpdates":false}},{"type":"shape","id":"1ae0d7ba-d803-47d6-a92f-c6b9411fc9f0","elementConfiguration":{"binding":"{{FormatDateTime(Form.Date,\"MMMM dd, yyyy\",\"en-US\")}}","type":"text","disableUpdates":false}},{"type":"shape","id":"47c84c94-0c51-4409-929e-f15ca0f76421","elementConfiguration":{"binding":"{{StringJoin(\", \", Form.SpeakerName,\"SAP\")}}","type":"text","disableUpdates":false}},{"type":"shape","id":"ebaf9e08-bece-45c2-a543-72508166c2be","elementConfiguration":{"binding":"{{FormatDateTime(Form.Date,\"MMMM dd, yyyy\",\"en-US\")}}","type":"text","disableUpdates":false}},{"type":"shape","id":"7a28a387-32db-4849-9201-6a61174469d1","elementConfiguration":{"binding":"{{StringJoin(\", \", Form.SpeakerName,\"SAP\")}}","type":"text","disableUpdates":false}},{"type":"shape","id":"0f01bfee-ce03-41cc-abea-b070a2f7b356","elementConfiguration":{"binding":"{{FormatDateTime(Form.Date,\"MMMM dd, yyyy\",\"en-US\")}}","type":"text","disableUpdates":false}},{"type":"shape","id":"5f8b55cd-a22d-4fec-aea9-0183a672ce20","elementConfiguration":{"binding":"{{StringJoin(\", \", Form.SpeakerName,\"SAP\")}}","type":"text","disableUpdates":false}},{"type":"shape","id":"7c99c286-6331-44f9-acc1-8ed27bf5c877","elementConfiguration":{"binding":"{{FormatDateTime(Form.Date,\"MMMM dd, yyyy\",\"en-US\")}}","type":"text","disableUpdates":false}},{"type":"shape","id":"9730fde8-cdcf-421a-97ef-1d5c98c42d83","elementConfiguration":{"binding":"{{StringJoin(\", \", Form.SpeakerName,\"SAP\")}}","type":"text","disableUpdates":false}},{"type":"shape","id":"be291712-808f-4c05-a4b9-16c098d589f0","elementConfiguration":{"binding":"{{FormatDateTime(Form.Date,\"MMMM dd, yyyy\",\"en-US\")}}","type":"text","disableUpdates":false}},{"type":"shape","id":"cb00d6b1-ca10-46e6-abd8-5f3adf2e343e","elementConfiguration":{"binding":"{{StringJoin(\", \", Form.SpeakerName,\"SAP\")}}","type":"text","disableUpdates":false}},{"type":"shape","id":"6a382710-a43a-4adc-ae49-0e561e1b5d14","elementConfiguration":{"binding":"{{FormatDateTime(Form.Date,\"MMMM dd, yyyy\",\"en-US\")}}","type":"text","disableUpdates":false}},{"type":"shape","id":"08f98063-58c1-4020-b28b-315bf93619ea","elementConfiguration":{"binding":"{{Form.SpeakerName}}","type":"text","disableUpdates":false}},{"type":"shape","id":"29692919-c00f-40b6-84c5-5d5a75f76ab7","elementConfiguration":{"binding":"{{Form.Email}}","type":"text","disableUpdates":false}}],"transformationConfigurations":[],"templateName":"SAP Template NEW","templateDescription":"Spelling issue solved","enableDocumentContentUpdater":true,"version":"2.0"}]]></TemplafyTemplateConfiguration>
</file>

<file path=customXml/item37.xml><?xml version="1.0" encoding="utf-8"?>
<TemplafySlideTemplateConfiguration><![CDATA[{"slideVersion":2,"isValidatorEnabled":false,"isLocked":false,"elementsMetadata":[],"slideId":"638373043998050859","enableDocumentContentUpdater":false,"version":"2.0"}]]></TemplafySlideTemplateConfiguration>
</file>

<file path=customXml/item38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39.xml><?xml version="1.0" encoding="utf-8"?>
<TemplafySlideFormConfiguration><![CDATA[{"formFields":[],"formDataEntries":[]}]]></TemplafySlideFormConfiguration>
</file>

<file path=customXml/item4.xml><?xml version="1.0" encoding="utf-8"?>
<TemplafySlideFormConfiguration><![CDATA[{"formFields":[],"formDataEntries":[]}]]></TemplafySlideFormConfiguration>
</file>

<file path=customXml/item40.xml><?xml version="1.0" encoding="utf-8"?>
<TemplafySlideFormConfiguration><![CDATA[{"formFields":[],"formDataEntries":[]}]]></TemplafySlideFormConfiguration>
</file>

<file path=customXml/item41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Blue}}","visibility":"","type":"image","disableUpdates":false}},{"type":"shape","elementConfiguration":{"binding":"{{Form.Classification.Display}}","visibility":"","type":"text","disableUpdates":false}}],"slideId":"638331234102843511","enableDocumentContentUpdater":false,"version":"2.0"}]]></TemplafySlideTemplateConfiguration>
</file>

<file path=customXml/item42.xml><?xml version="1.0" encoding="utf-8"?>
<TemplafySlideFormConfiguration><![CDATA[{"formFields":[],"formDataEntries":[]}]]></TemplafySlideFormConfiguration>
</file>

<file path=customXml/item43.xml><?xml version="1.0" encoding="utf-8"?>
<TemplafySlideFormConfiguration><![CDATA[{"formFields":[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44.xml><?xml version="1.0" encoding="utf-8"?>
<TemplafySlideFormConfiguration><![CDATA[{"formFields":[],"formDataEntries":[]}]]></TemplafySlideFormConfiguration>
</file>

<file path=customXml/item45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46.xml><?xml version="1.0" encoding="utf-8"?>
<TemplafySlideFormConfiguration><![CDATA[{"formFields":[],"formDataEntries":[]}]]></TemplafySlideFormConfiguration>
</file>

<file path=customXml/item47.xml><?xml version="1.0" encoding="utf-8"?>
<TemplafySlideFormConfiguration><![CDATA[{"formFields":[],"formDataEntries":[]}]]></TemplafySlideFormConfiguration>
</file>

<file path=customXml/item48.xml><?xml version="1.0" encoding="utf-8"?>
<TemplafySlideFormConfiguration><![CDATA[{"formFields":[],"formDataEntries":[]}]]></TemplafySlideFormConfiguration>
</file>

<file path=customXml/item49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5.xml><?xml version="1.0" encoding="utf-8"?>
<TemplafySlideFormConfiguration><![CDATA[{"formFields":[],"formDataEntries":[]}]]></TemplafySlideFormConfiguration>
</file>

<file path=customXml/item50.xml><?xml version="1.0" encoding="utf-8"?>
<TemplafySlideFormConfiguration><![CDATA[{"formFields":[],"formDataEntries":[]}]]></TemplafySlideFormConfiguration>
</file>

<file path=customXml/item51.xml><?xml version="1.0" encoding="utf-8"?>
<TemplafySlideFormConfiguration><![CDATA[{"formFields":[],"formDataEntries":[]}]]></TemplafySlideFormConfiguration>
</file>

<file path=customXml/item6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White}}","visibility":"","type":"image","disableUpdates":false}},{"type":"shape","elementConfiguration":{"binding":"{{Form.Classification.Display}}","visibility":"","type":"text","disableUpdates":false}}],"slideId":"638331234102776925","enableDocumentContentUpdater":false,"version":"2.0"}]]></TemplafySlideTemplateConfiguration>
</file>

<file path=customXml/item7.xml><?xml version="1.0" encoding="utf-8"?>
<TemplafySlideTemplateConfiguration><![CDATA[{"slideVersion":2,"isValidatorEnabled":false,"isLocked":false,"elementsMetadata":[],"slideId":"638373043998151196","enableDocumentContentUpdater":false,"version":"2.0"}]]></TemplafySlideTemplateConfiguration>
</file>

<file path=customXml/item8.xml><?xml version="1.0" encoding="utf-8"?>
<TemplafySlideFormConfiguration><![CDATA[{"formFields":[],"formDataEntries":[]}]]></TemplafySlideFormConfiguration>
</file>

<file path=customXml/item9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BC5403FE-05BE-4E98-A273-D056C995E512}">
  <ds:schemaRefs/>
</ds:datastoreItem>
</file>

<file path=customXml/itemProps10.xml><?xml version="1.0" encoding="utf-8"?>
<ds:datastoreItem xmlns:ds="http://schemas.openxmlformats.org/officeDocument/2006/customXml" ds:itemID="{15EC2061-1F13-4DC6-B9C2-B24883664942}">
  <ds:schemaRefs/>
</ds:datastoreItem>
</file>

<file path=customXml/itemProps11.xml><?xml version="1.0" encoding="utf-8"?>
<ds:datastoreItem xmlns:ds="http://schemas.openxmlformats.org/officeDocument/2006/customXml" ds:itemID="{A8C86873-C3B0-400F-A41A-700C85C5A50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6410bfa-c465-4282-9437-cb33276387d7"/>
    <ds:schemaRef ds:uri="2e4b7787-f155-484c-a6ed-faacc4d6ea8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12.xml><?xml version="1.0" encoding="utf-8"?>
<ds:datastoreItem xmlns:ds="http://schemas.openxmlformats.org/officeDocument/2006/customXml" ds:itemID="{63FADC4E-365B-4554-8E59-C720A861D5CA}">
  <ds:schemaRefs/>
</ds:datastoreItem>
</file>

<file path=customXml/itemProps13.xml><?xml version="1.0" encoding="utf-8"?>
<ds:datastoreItem xmlns:ds="http://schemas.openxmlformats.org/officeDocument/2006/customXml" ds:itemID="{034DD3E1-2858-4C70-BC3A-61FB10763B47}">
  <ds:schemaRefs/>
</ds:datastoreItem>
</file>

<file path=customXml/itemProps14.xml><?xml version="1.0" encoding="utf-8"?>
<ds:datastoreItem xmlns:ds="http://schemas.openxmlformats.org/officeDocument/2006/customXml" ds:itemID="{20AD2FA6-6913-43F7-86DE-8AF1545F9903}">
  <ds:schemaRefs/>
</ds:datastoreItem>
</file>

<file path=customXml/itemProps15.xml><?xml version="1.0" encoding="utf-8"?>
<ds:datastoreItem xmlns:ds="http://schemas.openxmlformats.org/officeDocument/2006/customXml" ds:itemID="{5205743A-69BE-4083-94E2-7B4DB7E3C7E8}">
  <ds:schemaRefs/>
</ds:datastoreItem>
</file>

<file path=customXml/itemProps16.xml><?xml version="1.0" encoding="utf-8"?>
<ds:datastoreItem xmlns:ds="http://schemas.openxmlformats.org/officeDocument/2006/customXml" ds:itemID="{6638E641-279B-4AC7-A8AC-1DE9953C4894}">
  <ds:schemaRefs/>
</ds:datastoreItem>
</file>

<file path=customXml/itemProps17.xml><?xml version="1.0" encoding="utf-8"?>
<ds:datastoreItem xmlns:ds="http://schemas.openxmlformats.org/officeDocument/2006/customXml" ds:itemID="{538A7E94-9A75-944B-BB53-DAD192A33F0F}">
  <ds:schemaRefs/>
</ds:datastoreItem>
</file>

<file path=customXml/itemProps18.xml><?xml version="1.0" encoding="utf-8"?>
<ds:datastoreItem xmlns:ds="http://schemas.openxmlformats.org/officeDocument/2006/customXml" ds:itemID="{C1422F45-04DB-421D-8796-270006657806}">
  <ds:schemaRefs>
    <ds:schemaRef ds:uri="2e4b7787-f155-484c-a6ed-faacc4d6ea8a"/>
    <ds:schemaRef ds:uri="4e4a4d3c-2afd-4247-8751-c4aa3e783882"/>
    <ds:schemaRef ds:uri="76410bfa-c465-4282-9437-cb33276387d7"/>
    <ds:schemaRef ds:uri="b2cc75a2-af32-44d4-85b5-598d8dc2ada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.xml><?xml version="1.0" encoding="utf-8"?>
<ds:datastoreItem xmlns:ds="http://schemas.openxmlformats.org/officeDocument/2006/customXml" ds:itemID="{C2AC838F-3192-4042-96C7-6D081523F5A1}">
  <ds:schemaRefs/>
</ds:datastoreItem>
</file>

<file path=customXml/itemProps2.xml><?xml version="1.0" encoding="utf-8"?>
<ds:datastoreItem xmlns:ds="http://schemas.openxmlformats.org/officeDocument/2006/customXml" ds:itemID="{118DC9FA-6E7A-134A-A4CB-DB7E25529BCD}">
  <ds:schemaRefs/>
</ds:datastoreItem>
</file>

<file path=customXml/itemProps20.xml><?xml version="1.0" encoding="utf-8"?>
<ds:datastoreItem xmlns:ds="http://schemas.openxmlformats.org/officeDocument/2006/customXml" ds:itemID="{47E12206-FAC1-4A56-A73A-215CACDF02F8}">
  <ds:schemaRefs/>
</ds:datastoreItem>
</file>

<file path=customXml/itemProps21.xml><?xml version="1.0" encoding="utf-8"?>
<ds:datastoreItem xmlns:ds="http://schemas.openxmlformats.org/officeDocument/2006/customXml" ds:itemID="{2346D7F6-9001-43CB-BA55-744322C55379}">
  <ds:schemaRefs/>
</ds:datastoreItem>
</file>

<file path=customXml/itemProps22.xml><?xml version="1.0" encoding="utf-8"?>
<ds:datastoreItem xmlns:ds="http://schemas.openxmlformats.org/officeDocument/2006/customXml" ds:itemID="{3B62FFE9-ED73-4F57-B7FD-1898883AC30C}">
  <ds:schemaRefs/>
</ds:datastoreItem>
</file>

<file path=customXml/itemProps23.xml><?xml version="1.0" encoding="utf-8"?>
<ds:datastoreItem xmlns:ds="http://schemas.openxmlformats.org/officeDocument/2006/customXml" ds:itemID="{C1482805-839B-4917-A350-F14E209159EB}">
  <ds:schemaRefs/>
</ds:datastoreItem>
</file>

<file path=customXml/itemProps24.xml><?xml version="1.0" encoding="utf-8"?>
<ds:datastoreItem xmlns:ds="http://schemas.openxmlformats.org/officeDocument/2006/customXml" ds:itemID="{E1E2A403-39C3-4FC8-B841-41CD46EF1E37}">
  <ds:schemaRefs/>
</ds:datastoreItem>
</file>

<file path=customXml/itemProps25.xml><?xml version="1.0" encoding="utf-8"?>
<ds:datastoreItem xmlns:ds="http://schemas.openxmlformats.org/officeDocument/2006/customXml" ds:itemID="{0EB72D09-D760-46C8-9C95-8879EFB64293}">
  <ds:schemaRefs/>
</ds:datastoreItem>
</file>

<file path=customXml/itemProps26.xml><?xml version="1.0" encoding="utf-8"?>
<ds:datastoreItem xmlns:ds="http://schemas.openxmlformats.org/officeDocument/2006/customXml" ds:itemID="{EA0EFD7B-A280-45FB-AEC3-B703B28210D9}">
  <ds:schemaRefs/>
</ds:datastoreItem>
</file>

<file path=customXml/itemProps27.xml><?xml version="1.0" encoding="utf-8"?>
<ds:datastoreItem xmlns:ds="http://schemas.openxmlformats.org/officeDocument/2006/customXml" ds:itemID="{FB378D73-682D-4B5C-B045-A467836EDC7E}">
  <ds:schemaRefs/>
</ds:datastoreItem>
</file>

<file path=customXml/itemProps28.xml><?xml version="1.0" encoding="utf-8"?>
<ds:datastoreItem xmlns:ds="http://schemas.openxmlformats.org/officeDocument/2006/customXml" ds:itemID="{D505826A-FD3B-4FAC-9437-FB4AF9F44F1B}">
  <ds:schemaRefs/>
</ds:datastoreItem>
</file>

<file path=customXml/itemProps29.xml><?xml version="1.0" encoding="utf-8"?>
<ds:datastoreItem xmlns:ds="http://schemas.openxmlformats.org/officeDocument/2006/customXml" ds:itemID="{D6037B97-3794-423A-803A-B94879121092}">
  <ds:schemaRefs/>
</ds:datastoreItem>
</file>

<file path=customXml/itemProps3.xml><?xml version="1.0" encoding="utf-8"?>
<ds:datastoreItem xmlns:ds="http://schemas.openxmlformats.org/officeDocument/2006/customXml" ds:itemID="{475AB362-7E2C-4295-A530-7B284247BFC6}">
  <ds:schemaRefs/>
</ds:datastoreItem>
</file>

<file path=customXml/itemProps30.xml><?xml version="1.0" encoding="utf-8"?>
<ds:datastoreItem xmlns:ds="http://schemas.openxmlformats.org/officeDocument/2006/customXml" ds:itemID="{CC49FFC8-2FF3-4057-96F0-3BCD1A4F0351}">
  <ds:schemaRefs/>
</ds:datastoreItem>
</file>

<file path=customXml/itemProps31.xml><?xml version="1.0" encoding="utf-8"?>
<ds:datastoreItem xmlns:ds="http://schemas.openxmlformats.org/officeDocument/2006/customXml" ds:itemID="{53C0C564-F4BC-4CB7-A46F-7534E4F7BCE1}">
  <ds:schemaRefs/>
</ds:datastoreItem>
</file>

<file path=customXml/itemProps32.xml><?xml version="1.0" encoding="utf-8"?>
<ds:datastoreItem xmlns:ds="http://schemas.openxmlformats.org/officeDocument/2006/customXml" ds:itemID="{291DCB28-1C52-4C0E-804A-6BD2D3F0FB8D}">
  <ds:schemaRefs>
    <ds:schemaRef ds:uri="http://schemas.microsoft.com/sharepoint/v3/contenttype/forms"/>
  </ds:schemaRefs>
</ds:datastoreItem>
</file>

<file path=customXml/itemProps33.xml><?xml version="1.0" encoding="utf-8"?>
<ds:datastoreItem xmlns:ds="http://schemas.openxmlformats.org/officeDocument/2006/customXml" ds:itemID="{F7A688B5-CEE6-4F55-B294-130EFC5DB101}">
  <ds:schemaRefs/>
</ds:datastoreItem>
</file>

<file path=customXml/itemProps34.xml><?xml version="1.0" encoding="utf-8"?>
<ds:datastoreItem xmlns:ds="http://schemas.openxmlformats.org/officeDocument/2006/customXml" ds:itemID="{184FDB0B-513E-4564-83E3-30C2A67FA462}">
  <ds:schemaRefs/>
</ds:datastoreItem>
</file>

<file path=customXml/itemProps35.xml><?xml version="1.0" encoding="utf-8"?>
<ds:datastoreItem xmlns:ds="http://schemas.openxmlformats.org/officeDocument/2006/customXml" ds:itemID="{DAADC99B-5A83-456A-8BCD-707A23A28C1F}">
  <ds:schemaRefs/>
</ds:datastoreItem>
</file>

<file path=customXml/itemProps36.xml><?xml version="1.0" encoding="utf-8"?>
<ds:datastoreItem xmlns:ds="http://schemas.openxmlformats.org/officeDocument/2006/customXml" ds:itemID="{626BBCBB-1894-4E66-BA48-9E91CE3ACBA0}">
  <ds:schemaRefs/>
</ds:datastoreItem>
</file>

<file path=customXml/itemProps37.xml><?xml version="1.0" encoding="utf-8"?>
<ds:datastoreItem xmlns:ds="http://schemas.openxmlformats.org/officeDocument/2006/customXml" ds:itemID="{793AE96A-37D6-4971-A9A5-8EA3F2B2BD93}">
  <ds:schemaRefs/>
</ds:datastoreItem>
</file>

<file path=customXml/itemProps38.xml><?xml version="1.0" encoding="utf-8"?>
<ds:datastoreItem xmlns:ds="http://schemas.openxmlformats.org/officeDocument/2006/customXml" ds:itemID="{23FA4614-B246-4ED4-A39C-2DEE012E4E41}">
  <ds:schemaRefs/>
</ds:datastoreItem>
</file>

<file path=customXml/itemProps39.xml><?xml version="1.0" encoding="utf-8"?>
<ds:datastoreItem xmlns:ds="http://schemas.openxmlformats.org/officeDocument/2006/customXml" ds:itemID="{AAC26940-3727-49BE-BF62-CC423E64F2BD}">
  <ds:schemaRefs/>
</ds:datastoreItem>
</file>

<file path=customXml/itemProps4.xml><?xml version="1.0" encoding="utf-8"?>
<ds:datastoreItem xmlns:ds="http://schemas.openxmlformats.org/officeDocument/2006/customXml" ds:itemID="{98EE72E3-5203-4D39-A131-E9DD8A16EDC4}">
  <ds:schemaRefs/>
</ds:datastoreItem>
</file>

<file path=customXml/itemProps40.xml><?xml version="1.0" encoding="utf-8"?>
<ds:datastoreItem xmlns:ds="http://schemas.openxmlformats.org/officeDocument/2006/customXml" ds:itemID="{94BD63B6-D21E-46C4-815E-3B295ED02A9C}">
  <ds:schemaRefs/>
</ds:datastoreItem>
</file>

<file path=customXml/itemProps41.xml><?xml version="1.0" encoding="utf-8"?>
<ds:datastoreItem xmlns:ds="http://schemas.openxmlformats.org/officeDocument/2006/customXml" ds:itemID="{CD69D8E4-3079-0947-A87B-18CDAB899542}">
  <ds:schemaRefs/>
</ds:datastoreItem>
</file>

<file path=customXml/itemProps42.xml><?xml version="1.0" encoding="utf-8"?>
<ds:datastoreItem xmlns:ds="http://schemas.openxmlformats.org/officeDocument/2006/customXml" ds:itemID="{7A474179-D5E4-437A-B70C-9919B93CA02F}">
  <ds:schemaRefs/>
</ds:datastoreItem>
</file>

<file path=customXml/itemProps43.xml><?xml version="1.0" encoding="utf-8"?>
<ds:datastoreItem xmlns:ds="http://schemas.openxmlformats.org/officeDocument/2006/customXml" ds:itemID="{DF651907-6C10-4999-BBD5-6BFD17F65FC4}">
  <ds:schemaRefs/>
</ds:datastoreItem>
</file>

<file path=customXml/itemProps44.xml><?xml version="1.0" encoding="utf-8"?>
<ds:datastoreItem xmlns:ds="http://schemas.openxmlformats.org/officeDocument/2006/customXml" ds:itemID="{48165AA7-FCD4-45E8-91C2-2E8798F7DA7A}">
  <ds:schemaRefs/>
</ds:datastoreItem>
</file>

<file path=customXml/itemProps45.xml><?xml version="1.0" encoding="utf-8"?>
<ds:datastoreItem xmlns:ds="http://schemas.openxmlformats.org/officeDocument/2006/customXml" ds:itemID="{C678E196-AE5D-4AB0-B3F0-0D6FA84851B1}">
  <ds:schemaRefs/>
</ds:datastoreItem>
</file>

<file path=customXml/itemProps46.xml><?xml version="1.0" encoding="utf-8"?>
<ds:datastoreItem xmlns:ds="http://schemas.openxmlformats.org/officeDocument/2006/customXml" ds:itemID="{92690E7D-4F9F-4E12-9E4E-BAEC04D5A7CC}">
  <ds:schemaRefs/>
</ds:datastoreItem>
</file>

<file path=customXml/itemProps47.xml><?xml version="1.0" encoding="utf-8"?>
<ds:datastoreItem xmlns:ds="http://schemas.openxmlformats.org/officeDocument/2006/customXml" ds:itemID="{935C6D9D-19E8-4631-A552-DB446407D2A4}">
  <ds:schemaRefs/>
</ds:datastoreItem>
</file>

<file path=customXml/itemProps48.xml><?xml version="1.0" encoding="utf-8"?>
<ds:datastoreItem xmlns:ds="http://schemas.openxmlformats.org/officeDocument/2006/customXml" ds:itemID="{7EE19871-72D1-4A79-AC35-D7B297494921}">
  <ds:schemaRefs/>
</ds:datastoreItem>
</file>

<file path=customXml/itemProps49.xml><?xml version="1.0" encoding="utf-8"?>
<ds:datastoreItem xmlns:ds="http://schemas.openxmlformats.org/officeDocument/2006/customXml" ds:itemID="{623ADE88-F3B4-4857-B6D7-BE3D1452E97C}">
  <ds:schemaRefs/>
</ds:datastoreItem>
</file>

<file path=customXml/itemProps5.xml><?xml version="1.0" encoding="utf-8"?>
<ds:datastoreItem xmlns:ds="http://schemas.openxmlformats.org/officeDocument/2006/customXml" ds:itemID="{D06AD3D1-7FF9-4536-AD60-A17870F90738}">
  <ds:schemaRefs/>
</ds:datastoreItem>
</file>

<file path=customXml/itemProps50.xml><?xml version="1.0" encoding="utf-8"?>
<ds:datastoreItem xmlns:ds="http://schemas.openxmlformats.org/officeDocument/2006/customXml" ds:itemID="{80CA586D-470E-4965-80EA-F4B9D379E73D}">
  <ds:schemaRefs/>
</ds:datastoreItem>
</file>

<file path=customXml/itemProps51.xml><?xml version="1.0" encoding="utf-8"?>
<ds:datastoreItem xmlns:ds="http://schemas.openxmlformats.org/officeDocument/2006/customXml" ds:itemID="{12438972-7D18-4481-AF51-532E67A63E1E}">
  <ds:schemaRefs/>
</ds:datastoreItem>
</file>

<file path=customXml/itemProps6.xml><?xml version="1.0" encoding="utf-8"?>
<ds:datastoreItem xmlns:ds="http://schemas.openxmlformats.org/officeDocument/2006/customXml" ds:itemID="{BE35CB75-D316-A442-AF6F-E30B686305AD}">
  <ds:schemaRefs/>
</ds:datastoreItem>
</file>

<file path=customXml/itemProps7.xml><?xml version="1.0" encoding="utf-8"?>
<ds:datastoreItem xmlns:ds="http://schemas.openxmlformats.org/officeDocument/2006/customXml" ds:itemID="{9C3868F0-118E-4F4D-99EC-60B093FD1E00}">
  <ds:schemaRefs/>
</ds:datastoreItem>
</file>

<file path=customXml/itemProps8.xml><?xml version="1.0" encoding="utf-8"?>
<ds:datastoreItem xmlns:ds="http://schemas.openxmlformats.org/officeDocument/2006/customXml" ds:itemID="{1EC17535-8D28-4922-81E0-ECD6F4BFCC98}">
  <ds:schemaRefs/>
</ds:datastoreItem>
</file>

<file path=customXml/itemProps9.xml><?xml version="1.0" encoding="utf-8"?>
<ds:datastoreItem xmlns:ds="http://schemas.openxmlformats.org/officeDocument/2006/customXml" ds:itemID="{8682EF99-B695-484F-8968-7BFAD92BDA4A}">
  <ds:schemaRefs/>
</ds:datastoreItem>
</file>

<file path=docMetadata/LabelInfo.xml><?xml version="1.0" encoding="utf-8"?>
<clbl:labelList xmlns:clbl="http://schemas.microsoft.com/office/2020/mipLabelMetadata">
  <clbl:label id="{13dc8f2d-4ea5-4903-ba8c-0b5d92999a2e}" enabled="1" method="Privileged" siteId="{42f7676c-f455-423c-82f6-dc2d99791af7}" removed="0"/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DM Branding Updates 2024 01 31 for IDM All as templates</Template>
  <TotalTime>0</TotalTime>
  <Words>3873</Words>
  <Application>Microsoft Macintosh PowerPoint</Application>
  <PresentationFormat>Benutzerdefiniert</PresentationFormat>
  <Paragraphs>1049</Paragraphs>
  <Slides>26</Slides>
  <Notes>2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7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6</vt:i4>
      </vt:variant>
    </vt:vector>
  </HeadingPairs>
  <TitlesOfParts>
    <vt:vector size="48" baseType="lpstr">
      <vt:lpstr>Segoe UI</vt:lpstr>
      <vt:lpstr>72 Brand</vt:lpstr>
      <vt:lpstr>Calibri</vt:lpstr>
      <vt:lpstr>Graphik Light</vt:lpstr>
      <vt:lpstr>Arial,Sans-Serif</vt:lpstr>
      <vt:lpstr>Wingdings</vt:lpstr>
      <vt:lpstr>Roboto</vt:lpstr>
      <vt:lpstr>Courier New</vt:lpstr>
      <vt:lpstr>Symbol</vt:lpstr>
      <vt:lpstr>Arial</vt:lpstr>
      <vt:lpstr>Wingdings,Sans-Serif</vt:lpstr>
      <vt:lpstr>72</vt:lpstr>
      <vt:lpstr>Arial Unicode MS</vt:lpstr>
      <vt:lpstr>Consolas</vt:lpstr>
      <vt:lpstr>72 Bold</vt:lpstr>
      <vt:lpstr>72 Brand Medium</vt:lpstr>
      <vt:lpstr>Wingdings</vt:lpstr>
      <vt:lpstr>SAP Template 2024</vt:lpstr>
      <vt:lpstr>White Template</vt:lpstr>
      <vt:lpstr>1_White Template</vt:lpstr>
      <vt:lpstr>1_SAP Template 2024</vt:lpstr>
      <vt:lpstr>think-cell Slide</vt:lpstr>
      <vt:lpstr>1. CDP Business Use Cases | Overview of scheduled Use Case Adoption per LoB</vt:lpstr>
      <vt:lpstr>1. CDP Business Use Cases | Marketing – Status &amp; Use Case Heatmap</vt:lpstr>
      <vt:lpstr>1. CDP Business Use Cases | Marketing – Status &amp; Use Case Heatmap</vt:lpstr>
      <vt:lpstr>1. CDP Business Use Cases | Sales &amp; Post Sales – Status &amp; Use Case Heatmap</vt:lpstr>
      <vt:lpstr>1. CDP Business Use Cases | Sales &amp; Post Sales – Status &amp; Use Case Heatmap</vt:lpstr>
      <vt:lpstr>1. CDP Business Use Cases | Compliance – Status &amp; Use Case Heatmap</vt:lpstr>
      <vt:lpstr>2. CDP Foundational Use Cases | Status Update (1/2)</vt:lpstr>
      <vt:lpstr>2. CDP Foundational Use Cases | Status Update (2/2)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  <vt:lpstr>{{UseCaseOnePagerTitel1}}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Dröge, Anne</dc:creator>
  <cp:keywords>2024/16:9/white</cp:keywords>
  <dc:description/>
  <cp:lastModifiedBy>Schnepf, Patrick</cp:lastModifiedBy>
  <cp:revision>18</cp:revision>
  <dcterms:created xsi:type="dcterms:W3CDTF">2024-09-16T15:04:13Z</dcterms:created>
  <dcterms:modified xsi:type="dcterms:W3CDTF">2026-01-10T09:54:12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ECD2AF1DA3F8FF4FA6C2645C43C2AC01</vt:lpwstr>
  </property>
  <property fmtid="{D5CDD505-2E9C-101B-9397-08002B2CF9AE}" pid="4" name="TemplafyTimeStamp">
    <vt:lpwstr>2023-11-20T09:38:05</vt:lpwstr>
  </property>
  <property fmtid="{D5CDD505-2E9C-101B-9397-08002B2CF9AE}" pid="5" name="TemplafyTenantId">
    <vt:lpwstr>sap</vt:lpwstr>
  </property>
  <property fmtid="{D5CDD505-2E9C-101B-9397-08002B2CF9AE}" pid="6" name="TemplafyTemplateId">
    <vt:lpwstr>743088030174412800</vt:lpwstr>
  </property>
  <property fmtid="{D5CDD505-2E9C-101B-9397-08002B2CF9AE}" pid="7" name="TemplafyUserProfileId">
    <vt:lpwstr>637653955260011855</vt:lpwstr>
  </property>
  <property fmtid="{D5CDD505-2E9C-101B-9397-08002B2CF9AE}" pid="8" name="TemplafyLanguageCode">
    <vt:lpwstr>en-US</vt:lpwstr>
  </property>
  <property fmtid="{D5CDD505-2E9C-101B-9397-08002B2CF9AE}" pid="9" name="TemplafyFromBlank">
    <vt:bool>false</vt:bool>
  </property>
  <property fmtid="{D5CDD505-2E9C-101B-9397-08002B2CF9AE}" pid="10" name="MediaServiceImageTags">
    <vt:lpwstr/>
  </property>
  <property fmtid="{D5CDD505-2E9C-101B-9397-08002B2CF9AE}" pid="11" name="xd_ProgID">
    <vt:lpwstr/>
  </property>
  <property fmtid="{D5CDD505-2E9C-101B-9397-08002B2CF9AE}" pid="12" name="ComplianceAssetId">
    <vt:lpwstr/>
  </property>
  <property fmtid="{D5CDD505-2E9C-101B-9397-08002B2CF9AE}" pid="13" name="TemplateUrl">
    <vt:lpwstr/>
  </property>
  <property fmtid="{D5CDD505-2E9C-101B-9397-08002B2CF9AE}" pid="14" name="_ExtendedDescription">
    <vt:lpwstr/>
  </property>
  <property fmtid="{D5CDD505-2E9C-101B-9397-08002B2CF9AE}" pid="15" name="TriggerFlowInfo">
    <vt:lpwstr/>
  </property>
  <property fmtid="{D5CDD505-2E9C-101B-9397-08002B2CF9AE}" pid="16" name="xd_Signature">
    <vt:lpwstr/>
  </property>
  <property fmtid="{D5CDD505-2E9C-101B-9397-08002B2CF9AE}" pid="17" name="ClassificationContentMarkingFooterLocations">
    <vt:lpwstr>SAP Template 2024:142\White Template:8\1_White Template:8\1_SAP Template 2024:142</vt:lpwstr>
  </property>
  <property fmtid="{D5CDD505-2E9C-101B-9397-08002B2CF9AE}" pid="18" name="ClassificationContentMarkingFooterText">
    <vt:lpwstr>INTERNAL | SAP AND EXTERNAL PARTIES UNDER NDA USE ONLY</vt:lpwstr>
  </property>
</Properties>
</file>